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119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6.xml" ContentType="application/vnd.openxmlformats-officedocument.theme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7.xml" ContentType="application/vnd.openxmlformats-officedocument.theme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8.xml" ContentType="application/vnd.openxmlformats-officedocument.theme+xml"/>
  <Override PartName="/ppt/tags/tag671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9.xml" ContentType="application/vnd.openxmlformats-officedocument.theme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0.xml" ContentType="application/vnd.openxmlformats-officedocument.theme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11.xml" ContentType="application/vnd.openxmlformats-officedocument.theme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12.xml" ContentType="application/vnd.openxmlformats-officedocument.theme+xml"/>
  <Override PartName="/ppt/tags/tag906.xml" ContentType="application/vnd.openxmlformats-officedocument.presentationml.tags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13.xml" ContentType="application/vnd.openxmlformats-officedocument.theme+xml"/>
  <Override PartName="/ppt/tags/tag907.xml" ContentType="application/vnd.openxmlformats-officedocument.presentationml.tags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theme/theme14.xml" ContentType="application/vnd.openxmlformats-officedocument.theme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tags/tag102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836" r:id="rId5"/>
    <p:sldMasterId id="2147483911" r:id="rId6"/>
    <p:sldMasterId id="2147483940" r:id="rId7"/>
    <p:sldMasterId id="2147483959" r:id="rId8"/>
    <p:sldMasterId id="2147483976" r:id="rId9"/>
    <p:sldMasterId id="2147484022" r:id="rId10"/>
    <p:sldMasterId id="2147484053" r:id="rId11"/>
    <p:sldMasterId id="2147484133" r:id="rId12"/>
    <p:sldMasterId id="2147484150" r:id="rId13"/>
    <p:sldMasterId id="2147484210" r:id="rId14"/>
    <p:sldMasterId id="2147484251" r:id="rId15"/>
    <p:sldMasterId id="2147484484" r:id="rId16"/>
    <p:sldMasterId id="2147484513" r:id="rId17"/>
  </p:sldMasterIdLst>
  <p:notesMasterIdLst>
    <p:notesMasterId r:id="rId41"/>
  </p:notesMasterIdLst>
  <p:handoutMasterIdLst>
    <p:handoutMasterId r:id="rId42"/>
  </p:handoutMasterIdLst>
  <p:sldIdLst>
    <p:sldId id="256" r:id="rId18"/>
    <p:sldId id="257" r:id="rId19"/>
    <p:sldId id="263" r:id="rId20"/>
    <p:sldId id="258" r:id="rId21"/>
    <p:sldId id="2147479838" r:id="rId22"/>
    <p:sldId id="2147475770" r:id="rId23"/>
    <p:sldId id="261" r:id="rId24"/>
    <p:sldId id="2147475771" r:id="rId25"/>
    <p:sldId id="271" r:id="rId26"/>
    <p:sldId id="2147475773" r:id="rId27"/>
    <p:sldId id="274" r:id="rId28"/>
    <p:sldId id="275" r:id="rId29"/>
    <p:sldId id="276" r:id="rId30"/>
    <p:sldId id="2147475776" r:id="rId31"/>
    <p:sldId id="282" r:id="rId32"/>
    <p:sldId id="2147475780" r:id="rId33"/>
    <p:sldId id="2147475781" r:id="rId34"/>
    <p:sldId id="2147479841" r:id="rId35"/>
    <p:sldId id="2147475502" r:id="rId36"/>
    <p:sldId id="2147475787" r:id="rId37"/>
    <p:sldId id="286" r:id="rId38"/>
    <p:sldId id="288" r:id="rId39"/>
    <p:sldId id="2147479824" r:id="rId40"/>
  </p:sldIdLst>
  <p:sldSz cx="9144000" cy="5143500" type="screen16x9"/>
  <p:notesSz cx="6858000" cy="9144000"/>
  <p:custDataLst>
    <p:tags r:id="rId43"/>
  </p:custDataLst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tent" id="{6672E5B9-60C4-49CD-A620-1AB2AA2B0FE4}">
          <p14:sldIdLst>
            <p14:sldId id="256"/>
            <p14:sldId id="257"/>
          </p14:sldIdLst>
        </p14:section>
        <p14:section name="The Journey: Introducing Zeremis" id="{6D5D8F5F-BF46-45F1-99E0-9414E8F66E00}">
          <p14:sldIdLst>
            <p14:sldId id="263"/>
            <p14:sldId id="258"/>
            <p14:sldId id="2147479838"/>
          </p14:sldIdLst>
        </p14:section>
        <p14:section name="Our track record" id="{DB952B7A-3A2A-4861-A915-8E520B9F4AF6}">
          <p14:sldIdLst>
            <p14:sldId id="2147475770"/>
          </p14:sldIdLst>
        </p14:section>
        <p14:section name="Our ambition" id="{59361ABD-D382-4786-B7D6-BC6033DAD299}">
          <p14:sldIdLst>
            <p14:sldId id="261"/>
            <p14:sldId id="2147475771"/>
          </p14:sldIdLst>
        </p14:section>
        <p14:section name="Driving transformation" id="{7C6F657E-6E73-4706-8F49-28D21E130429}">
          <p14:sldIdLst>
            <p14:sldId id="271"/>
            <p14:sldId id="2147475773"/>
            <p14:sldId id="274"/>
          </p14:sldIdLst>
        </p14:section>
        <p14:section name="Accelerating change" id="{AD317DFD-C0FB-4188-ABE4-3CB13B2DE3EC}">
          <p14:sldIdLst>
            <p14:sldId id="275"/>
            <p14:sldId id="276"/>
            <p14:sldId id="2147475776"/>
          </p14:sldIdLst>
        </p14:section>
        <p14:section name="Zeremis Carbon Lite" id="{C257A097-3342-403B-B004-1B845FD1794E}">
          <p14:sldIdLst>
            <p14:sldId id="282"/>
            <p14:sldId id="2147475780"/>
            <p14:sldId id="2147475781"/>
            <p14:sldId id="2147479841"/>
            <p14:sldId id="2147475502"/>
            <p14:sldId id="2147475787"/>
          </p14:sldIdLst>
        </p14:section>
        <p14:section name="Reinvesting in the future" id="{F4E1915B-861A-4146-82F3-B0515EBEAB22}">
          <p14:sldIdLst>
            <p14:sldId id="286"/>
            <p14:sldId id="288"/>
            <p14:sldId id="214747982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BFA055D-168C-E44C-4750-5BF70EE5237E}" name="Rijkaart, Marc" initials="RM" userId="S::Marc.Rijkaart@tatasteeleurope.com::92cfed24-1d75-4d22-9bcd-27ae14995ff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kker, Christa" initials="DC" lastIdx="18" clrIdx="0">
    <p:extLst>
      <p:ext uri="{19B8F6BF-5375-455C-9EA6-DF929625EA0E}">
        <p15:presenceInfo xmlns:p15="http://schemas.microsoft.com/office/powerpoint/2012/main" userId="S::Christa.Dekker@tatasteeleurope.com::37f74bd1-3c98-4a37-9629-dbffafa3388b" providerId="AD"/>
      </p:ext>
    </p:extLst>
  </p:cmAuthor>
  <p:cmAuthor id="2" name="Lefferts, Julia" initials="LJ" lastIdx="14" clrIdx="1">
    <p:extLst>
      <p:ext uri="{19B8F6BF-5375-455C-9EA6-DF929625EA0E}">
        <p15:presenceInfo xmlns:p15="http://schemas.microsoft.com/office/powerpoint/2012/main" userId="S::Julia.Lefferts@tatasteeleurope.com::3a31bf61-b352-4cad-925e-7a5ff9d315dc" providerId="AD"/>
      </p:ext>
    </p:extLst>
  </p:cmAuthor>
  <p:cmAuthor id="3" name="Aardenburg, Jaap Jan" initials="AJ" lastIdx="1" clrIdx="2">
    <p:extLst>
      <p:ext uri="{19B8F6BF-5375-455C-9EA6-DF929625EA0E}">
        <p15:presenceInfo xmlns:p15="http://schemas.microsoft.com/office/powerpoint/2012/main" userId="S::jaap-jan.aardenburg@tatasteeleurope.com::d44767af-4bcc-4636-b55e-75dbf319f56a" providerId="AD"/>
      </p:ext>
    </p:extLst>
  </p:cmAuthor>
  <p:cmAuthor id="4" name="Geerlings, Wilfred" initials="GW" lastIdx="1" clrIdx="3">
    <p:extLst>
      <p:ext uri="{19B8F6BF-5375-455C-9EA6-DF929625EA0E}">
        <p15:presenceInfo xmlns:p15="http://schemas.microsoft.com/office/powerpoint/2012/main" userId="S::Wilfred.Geerlings@tatasteeleurope.com::eeef689b-ba2c-4177-a3ed-4b3006c044f4" providerId="AD"/>
      </p:ext>
    </p:extLst>
  </p:cmAuthor>
  <p:cmAuthor id="5" name="Bramble, Julia" initials="BJ" lastIdx="3" clrIdx="4">
    <p:extLst>
      <p:ext uri="{19B8F6BF-5375-455C-9EA6-DF929625EA0E}">
        <p15:presenceInfo xmlns:p15="http://schemas.microsoft.com/office/powerpoint/2012/main" userId="S::julia.bramble@tatasteeleurope.com::f04af9ea-fc98-401f-8ce9-304f8a257af5" providerId="AD"/>
      </p:ext>
    </p:extLst>
  </p:cmAuthor>
  <p:cmAuthor id="6" name="Rijkaart, Marc" initials="RM" lastIdx="20" clrIdx="5">
    <p:extLst>
      <p:ext uri="{19B8F6BF-5375-455C-9EA6-DF929625EA0E}">
        <p15:presenceInfo xmlns:p15="http://schemas.microsoft.com/office/powerpoint/2012/main" userId="S::Marc.Rijkaart@tatasteeleurope.com::92cfed24-1d75-4d22-9bcd-27ae14995f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1ED"/>
    <a:srgbClr val="9DEA20"/>
    <a:srgbClr val="33CC33"/>
    <a:srgbClr val="F9F8F6"/>
    <a:srgbClr val="008F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756" y="10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slide" Target="slides/slide9.xml"/><Relationship Id="rId39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34" Type="http://schemas.openxmlformats.org/officeDocument/2006/relationships/slide" Target="slides/slide17.xml"/><Relationship Id="rId42" Type="http://schemas.openxmlformats.org/officeDocument/2006/relationships/handoutMaster" Target="handoutMasters/handoutMaster1.xml"/><Relationship Id="rId47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" Target="slides/slide8.xml"/><Relationship Id="rId33" Type="http://schemas.openxmlformats.org/officeDocument/2006/relationships/slide" Target="slides/slide16.xml"/><Relationship Id="rId38" Type="http://schemas.openxmlformats.org/officeDocument/2006/relationships/slide" Target="slides/slide21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slide" Target="slides/slide12.xml"/><Relationship Id="rId41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7.xml"/><Relationship Id="rId32" Type="http://schemas.openxmlformats.org/officeDocument/2006/relationships/slide" Target="slides/slide15.xml"/><Relationship Id="rId37" Type="http://schemas.openxmlformats.org/officeDocument/2006/relationships/slide" Target="slides/slide20.xml"/><Relationship Id="rId40" Type="http://schemas.openxmlformats.org/officeDocument/2006/relationships/slide" Target="slides/slide23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6.xml"/><Relationship Id="rId28" Type="http://schemas.openxmlformats.org/officeDocument/2006/relationships/slide" Target="slides/slide11.xml"/><Relationship Id="rId36" Type="http://schemas.openxmlformats.org/officeDocument/2006/relationships/slide" Target="slides/slide19.xml"/><Relationship Id="rId49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31" Type="http://schemas.openxmlformats.org/officeDocument/2006/relationships/slide" Target="slides/slide14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slide" Target="slides/slide10.xml"/><Relationship Id="rId30" Type="http://schemas.openxmlformats.org/officeDocument/2006/relationships/slide" Target="slides/slide13.xml"/><Relationship Id="rId35" Type="http://schemas.openxmlformats.org/officeDocument/2006/relationships/slide" Target="slides/slide18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Master" Target="slideMasters/slideMaster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A665EE7-99BF-4B4C-930D-619B40F3654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AA29D60-4477-4457-918C-A82076B809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0459A4-23FE-413E-9ACB-4A2943826D8D}" type="datetimeFigureOut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B2FB0C4-3A52-4D40-AA8F-2788A92DA1E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C5A098-4F6F-46E4-A631-BE9B08B129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336088-F1E2-4EEA-91EE-F94C6F8EF470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01243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CA49E7-A2C1-43BC-BE61-E3AD3EC28A53}" type="datetimeFigureOut">
              <a:rPr lang="en-GB" smtClean="0"/>
              <a:t>24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79A3E-B890-4C71-9443-780B86A51FE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9875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err="1"/>
              <a:t>Zeremis</a:t>
            </a:r>
            <a:r>
              <a:rPr lang="en-US"/>
              <a:t> – short for zero emissions –</a:t>
            </a:r>
            <a:r>
              <a:rPr lang="en-NL"/>
              <a:t> </a:t>
            </a:r>
            <a:r>
              <a:rPr lang="en-US"/>
              <a:t>is our promise to the planet to become carbon neutral by 2045. The </a:t>
            </a:r>
            <a:r>
              <a:rPr lang="en-US" err="1"/>
              <a:t>Zeremis</a:t>
            </a:r>
            <a:r>
              <a:rPr lang="en-US"/>
              <a:t> brand</a:t>
            </a:r>
            <a:r>
              <a:rPr lang="en-NL"/>
              <a:t> </a:t>
            </a:r>
            <a:r>
              <a:rPr lang="en-US"/>
              <a:t>represents the journey Tata Steel Nederland is</a:t>
            </a:r>
            <a:r>
              <a:rPr lang="en-NL"/>
              <a:t> </a:t>
            </a:r>
            <a:r>
              <a:rPr lang="en-US"/>
              <a:t>taking with our customers, together towards a</a:t>
            </a:r>
            <a:r>
              <a:rPr lang="en-NL"/>
              <a:t> </a:t>
            </a:r>
            <a:r>
              <a:rPr lang="en-US"/>
              <a:t>zero carbon emissions, circular world.</a:t>
            </a:r>
          </a:p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79A3E-B890-4C71-9443-780B86A51FE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60424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479A3E-B890-4C71-9443-780B86A51FE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9461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479A3E-B890-4C71-9443-780B86A51FE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221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455.xml"/><Relationship Id="rId3" Type="http://schemas.openxmlformats.org/officeDocument/2006/relationships/tags" Target="../tags/tag450.xml"/><Relationship Id="rId7" Type="http://schemas.openxmlformats.org/officeDocument/2006/relationships/tags" Target="../tags/tag454.xml"/><Relationship Id="rId2" Type="http://schemas.openxmlformats.org/officeDocument/2006/relationships/tags" Target="../tags/tag449.xml"/><Relationship Id="rId1" Type="http://schemas.openxmlformats.org/officeDocument/2006/relationships/tags" Target="../tags/tag448.xml"/><Relationship Id="rId6" Type="http://schemas.openxmlformats.org/officeDocument/2006/relationships/tags" Target="../tags/tag453.xml"/><Relationship Id="rId11" Type="http://schemas.openxmlformats.org/officeDocument/2006/relationships/image" Target="../media/image9.emf"/><Relationship Id="rId5" Type="http://schemas.openxmlformats.org/officeDocument/2006/relationships/tags" Target="../tags/tag452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451.xml"/><Relationship Id="rId9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tags" Target="../tags/tag463.xml"/><Relationship Id="rId3" Type="http://schemas.openxmlformats.org/officeDocument/2006/relationships/tags" Target="../tags/tag458.xml"/><Relationship Id="rId7" Type="http://schemas.openxmlformats.org/officeDocument/2006/relationships/tags" Target="../tags/tag462.xml"/><Relationship Id="rId2" Type="http://schemas.openxmlformats.org/officeDocument/2006/relationships/tags" Target="../tags/tag457.xml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11" Type="http://schemas.openxmlformats.org/officeDocument/2006/relationships/image" Target="../media/image5.emf"/><Relationship Id="rId5" Type="http://schemas.openxmlformats.org/officeDocument/2006/relationships/tags" Target="../tags/tag460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459.xml"/><Relationship Id="rId9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1.bin"/><Relationship Id="rId3" Type="http://schemas.openxmlformats.org/officeDocument/2006/relationships/tags" Target="../tags/tag46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65.xml"/><Relationship Id="rId1" Type="http://schemas.openxmlformats.org/officeDocument/2006/relationships/tags" Target="../tags/tag464.xml"/><Relationship Id="rId6" Type="http://schemas.openxmlformats.org/officeDocument/2006/relationships/tags" Target="../tags/tag469.xml"/><Relationship Id="rId5" Type="http://schemas.openxmlformats.org/officeDocument/2006/relationships/tags" Target="../tags/tag468.xml"/><Relationship Id="rId4" Type="http://schemas.openxmlformats.org/officeDocument/2006/relationships/tags" Target="../tags/tag467.xml"/><Relationship Id="rId9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472.xml"/><Relationship Id="rId7" Type="http://schemas.openxmlformats.org/officeDocument/2006/relationships/image" Target="../media/image1.emf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7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6.xml"/><Relationship Id="rId4" Type="http://schemas.openxmlformats.org/officeDocument/2006/relationships/image" Target="../media/image12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13" Type="http://schemas.openxmlformats.org/officeDocument/2006/relationships/image" Target="../media/image16.svg"/><Relationship Id="rId3" Type="http://schemas.openxmlformats.org/officeDocument/2006/relationships/tags" Target="../tags/tag517.xml"/><Relationship Id="rId7" Type="http://schemas.openxmlformats.org/officeDocument/2006/relationships/slideMaster" Target="../slideMasters/slideMaster6.xml"/><Relationship Id="rId12" Type="http://schemas.openxmlformats.org/officeDocument/2006/relationships/image" Target="../media/image15.png"/><Relationship Id="rId2" Type="http://schemas.openxmlformats.org/officeDocument/2006/relationships/tags" Target="../tags/tag516.xml"/><Relationship Id="rId1" Type="http://schemas.openxmlformats.org/officeDocument/2006/relationships/tags" Target="../tags/tag515.xml"/><Relationship Id="rId6" Type="http://schemas.openxmlformats.org/officeDocument/2006/relationships/tags" Target="../tags/tag520.xml"/><Relationship Id="rId11" Type="http://schemas.openxmlformats.org/officeDocument/2006/relationships/image" Target="../media/image14.svg"/><Relationship Id="rId5" Type="http://schemas.openxmlformats.org/officeDocument/2006/relationships/tags" Target="../tags/tag519.xml"/><Relationship Id="rId15" Type="http://schemas.openxmlformats.org/officeDocument/2006/relationships/image" Target="../media/image18.svg"/><Relationship Id="rId10" Type="http://schemas.openxmlformats.org/officeDocument/2006/relationships/image" Target="../media/image13.png"/><Relationship Id="rId4" Type="http://schemas.openxmlformats.org/officeDocument/2006/relationships/tags" Target="../tags/tag518.xml"/><Relationship Id="rId9" Type="http://schemas.openxmlformats.org/officeDocument/2006/relationships/image" Target="../media/image1.emf"/><Relationship Id="rId14" Type="http://schemas.openxmlformats.org/officeDocument/2006/relationships/image" Target="../media/image17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tags" Target="../tags/tag528.xml"/><Relationship Id="rId3" Type="http://schemas.openxmlformats.org/officeDocument/2006/relationships/tags" Target="../tags/tag523.xml"/><Relationship Id="rId7" Type="http://schemas.openxmlformats.org/officeDocument/2006/relationships/tags" Target="../tags/tag527.xml"/><Relationship Id="rId12" Type="http://schemas.openxmlformats.org/officeDocument/2006/relationships/image" Target="../media/image1.emf"/><Relationship Id="rId2" Type="http://schemas.openxmlformats.org/officeDocument/2006/relationships/tags" Target="../tags/tag522.xml"/><Relationship Id="rId1" Type="http://schemas.openxmlformats.org/officeDocument/2006/relationships/tags" Target="../tags/tag521.xml"/><Relationship Id="rId6" Type="http://schemas.openxmlformats.org/officeDocument/2006/relationships/tags" Target="../tags/tag526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525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24.xml"/><Relationship Id="rId9" Type="http://schemas.openxmlformats.org/officeDocument/2006/relationships/tags" Target="../tags/tag529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tags" Target="../tags/tag537.xml"/><Relationship Id="rId3" Type="http://schemas.openxmlformats.org/officeDocument/2006/relationships/tags" Target="../tags/tag532.xml"/><Relationship Id="rId7" Type="http://schemas.openxmlformats.org/officeDocument/2006/relationships/tags" Target="../tags/tag536.xml"/><Relationship Id="rId12" Type="http://schemas.openxmlformats.org/officeDocument/2006/relationships/image" Target="../media/image1.emf"/><Relationship Id="rId2" Type="http://schemas.openxmlformats.org/officeDocument/2006/relationships/tags" Target="../tags/tag531.xml"/><Relationship Id="rId1" Type="http://schemas.openxmlformats.org/officeDocument/2006/relationships/tags" Target="../tags/tag530.xml"/><Relationship Id="rId6" Type="http://schemas.openxmlformats.org/officeDocument/2006/relationships/tags" Target="../tags/tag535.xml"/><Relationship Id="rId11" Type="http://schemas.openxmlformats.org/officeDocument/2006/relationships/oleObject" Target="../embeddings/oleObject58.bin"/><Relationship Id="rId5" Type="http://schemas.openxmlformats.org/officeDocument/2006/relationships/tags" Target="../tags/tag53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33.xml"/><Relationship Id="rId9" Type="http://schemas.openxmlformats.org/officeDocument/2006/relationships/tags" Target="../tags/tag538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546.xml"/><Relationship Id="rId3" Type="http://schemas.openxmlformats.org/officeDocument/2006/relationships/tags" Target="../tags/tag541.xml"/><Relationship Id="rId7" Type="http://schemas.openxmlformats.org/officeDocument/2006/relationships/tags" Target="../tags/tag545.xml"/><Relationship Id="rId12" Type="http://schemas.openxmlformats.org/officeDocument/2006/relationships/image" Target="../media/image1.emf"/><Relationship Id="rId2" Type="http://schemas.openxmlformats.org/officeDocument/2006/relationships/tags" Target="../tags/tag540.xml"/><Relationship Id="rId1" Type="http://schemas.openxmlformats.org/officeDocument/2006/relationships/tags" Target="../tags/tag539.xml"/><Relationship Id="rId6" Type="http://schemas.openxmlformats.org/officeDocument/2006/relationships/tags" Target="../tags/tag544.xml"/><Relationship Id="rId11" Type="http://schemas.openxmlformats.org/officeDocument/2006/relationships/oleObject" Target="../embeddings/oleObject59.bin"/><Relationship Id="rId5" Type="http://schemas.openxmlformats.org/officeDocument/2006/relationships/tags" Target="../tags/tag54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42.xml"/><Relationship Id="rId9" Type="http://schemas.openxmlformats.org/officeDocument/2006/relationships/tags" Target="../tags/tag54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tags" Target="../tags/tag555.xml"/><Relationship Id="rId13" Type="http://schemas.openxmlformats.org/officeDocument/2006/relationships/oleObject" Target="../embeddings/oleObject60.bin"/><Relationship Id="rId3" Type="http://schemas.openxmlformats.org/officeDocument/2006/relationships/tags" Target="../tags/tag550.xml"/><Relationship Id="rId7" Type="http://schemas.openxmlformats.org/officeDocument/2006/relationships/tags" Target="../tags/tag554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549.xml"/><Relationship Id="rId1" Type="http://schemas.openxmlformats.org/officeDocument/2006/relationships/tags" Target="../tags/tag548.xml"/><Relationship Id="rId6" Type="http://schemas.openxmlformats.org/officeDocument/2006/relationships/tags" Target="../tags/tag553.xml"/><Relationship Id="rId11" Type="http://schemas.openxmlformats.org/officeDocument/2006/relationships/tags" Target="../tags/tag558.xml"/><Relationship Id="rId5" Type="http://schemas.openxmlformats.org/officeDocument/2006/relationships/tags" Target="../tags/tag552.xml"/><Relationship Id="rId10" Type="http://schemas.openxmlformats.org/officeDocument/2006/relationships/tags" Target="../tags/tag557.xml"/><Relationship Id="rId4" Type="http://schemas.openxmlformats.org/officeDocument/2006/relationships/tags" Target="../tags/tag551.xml"/><Relationship Id="rId9" Type="http://schemas.openxmlformats.org/officeDocument/2006/relationships/tags" Target="../tags/tag556.xml"/><Relationship Id="rId14" Type="http://schemas.openxmlformats.org/officeDocument/2006/relationships/image" Target="../media/image5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12" Type="http://schemas.openxmlformats.org/officeDocument/2006/relationships/image" Target="../media/image1.emf"/><Relationship Id="rId2" Type="http://schemas.openxmlformats.org/officeDocument/2006/relationships/tags" Target="../tags/tag560.xml"/><Relationship Id="rId1" Type="http://schemas.openxmlformats.org/officeDocument/2006/relationships/tags" Target="../tags/tag559.xml"/><Relationship Id="rId6" Type="http://schemas.openxmlformats.org/officeDocument/2006/relationships/tags" Target="../tags/tag564.xml"/><Relationship Id="rId11" Type="http://schemas.openxmlformats.org/officeDocument/2006/relationships/oleObject" Target="../embeddings/oleObject61.bin"/><Relationship Id="rId5" Type="http://schemas.openxmlformats.org/officeDocument/2006/relationships/tags" Target="../tags/tag56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562.xml"/><Relationship Id="rId9" Type="http://schemas.openxmlformats.org/officeDocument/2006/relationships/tags" Target="../tags/tag56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tags" Target="../tags/tag575.xml"/><Relationship Id="rId13" Type="http://schemas.openxmlformats.org/officeDocument/2006/relationships/image" Target="../media/image1.emf"/><Relationship Id="rId3" Type="http://schemas.openxmlformats.org/officeDocument/2006/relationships/tags" Target="../tags/tag570.xml"/><Relationship Id="rId7" Type="http://schemas.openxmlformats.org/officeDocument/2006/relationships/tags" Target="../tags/tag574.xml"/><Relationship Id="rId12" Type="http://schemas.openxmlformats.org/officeDocument/2006/relationships/oleObject" Target="../embeddings/oleObject62.bin"/><Relationship Id="rId2" Type="http://schemas.openxmlformats.org/officeDocument/2006/relationships/tags" Target="../tags/tag569.xml"/><Relationship Id="rId1" Type="http://schemas.openxmlformats.org/officeDocument/2006/relationships/tags" Target="../tags/tag568.xml"/><Relationship Id="rId6" Type="http://schemas.openxmlformats.org/officeDocument/2006/relationships/tags" Target="../tags/tag573.xml"/><Relationship Id="rId11" Type="http://schemas.openxmlformats.org/officeDocument/2006/relationships/slideMaster" Target="../slideMasters/slideMaster6.xml"/><Relationship Id="rId5" Type="http://schemas.openxmlformats.org/officeDocument/2006/relationships/tags" Target="../tags/tag572.xml"/><Relationship Id="rId10" Type="http://schemas.openxmlformats.org/officeDocument/2006/relationships/tags" Target="../tags/tag577.xml"/><Relationship Id="rId4" Type="http://schemas.openxmlformats.org/officeDocument/2006/relationships/tags" Target="../tags/tag571.xml"/><Relationship Id="rId9" Type="http://schemas.openxmlformats.org/officeDocument/2006/relationships/tags" Target="../tags/tag576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tags" Target="../tags/tag585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580.xml"/><Relationship Id="rId7" Type="http://schemas.openxmlformats.org/officeDocument/2006/relationships/tags" Target="../tags/tag584.xml"/><Relationship Id="rId12" Type="http://schemas.openxmlformats.org/officeDocument/2006/relationships/tags" Target="../tags/tag589.xml"/><Relationship Id="rId2" Type="http://schemas.openxmlformats.org/officeDocument/2006/relationships/tags" Target="../tags/tag579.xml"/><Relationship Id="rId1" Type="http://schemas.openxmlformats.org/officeDocument/2006/relationships/tags" Target="../tags/tag578.xml"/><Relationship Id="rId6" Type="http://schemas.openxmlformats.org/officeDocument/2006/relationships/tags" Target="../tags/tag583.xml"/><Relationship Id="rId11" Type="http://schemas.openxmlformats.org/officeDocument/2006/relationships/tags" Target="../tags/tag588.xml"/><Relationship Id="rId5" Type="http://schemas.openxmlformats.org/officeDocument/2006/relationships/tags" Target="../tags/tag582.xml"/><Relationship Id="rId15" Type="http://schemas.openxmlformats.org/officeDocument/2006/relationships/image" Target="../media/image5.emf"/><Relationship Id="rId10" Type="http://schemas.openxmlformats.org/officeDocument/2006/relationships/tags" Target="../tags/tag587.xml"/><Relationship Id="rId4" Type="http://schemas.openxmlformats.org/officeDocument/2006/relationships/tags" Target="../tags/tag581.xml"/><Relationship Id="rId9" Type="http://schemas.openxmlformats.org/officeDocument/2006/relationships/tags" Target="../tags/tag586.xml"/><Relationship Id="rId14" Type="http://schemas.openxmlformats.org/officeDocument/2006/relationships/oleObject" Target="../embeddings/oleObject63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597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592.xml"/><Relationship Id="rId7" Type="http://schemas.openxmlformats.org/officeDocument/2006/relationships/tags" Target="../tags/tag596.xml"/><Relationship Id="rId12" Type="http://schemas.openxmlformats.org/officeDocument/2006/relationships/tags" Target="../tags/tag601.xml"/><Relationship Id="rId2" Type="http://schemas.openxmlformats.org/officeDocument/2006/relationships/tags" Target="../tags/tag591.xml"/><Relationship Id="rId1" Type="http://schemas.openxmlformats.org/officeDocument/2006/relationships/tags" Target="../tags/tag590.xml"/><Relationship Id="rId6" Type="http://schemas.openxmlformats.org/officeDocument/2006/relationships/tags" Target="../tags/tag595.xml"/><Relationship Id="rId11" Type="http://schemas.openxmlformats.org/officeDocument/2006/relationships/tags" Target="../tags/tag600.xml"/><Relationship Id="rId5" Type="http://schemas.openxmlformats.org/officeDocument/2006/relationships/tags" Target="../tags/tag594.xml"/><Relationship Id="rId15" Type="http://schemas.openxmlformats.org/officeDocument/2006/relationships/image" Target="../media/image5.emf"/><Relationship Id="rId10" Type="http://schemas.openxmlformats.org/officeDocument/2006/relationships/tags" Target="../tags/tag599.xml"/><Relationship Id="rId4" Type="http://schemas.openxmlformats.org/officeDocument/2006/relationships/tags" Target="../tags/tag593.xml"/><Relationship Id="rId9" Type="http://schemas.openxmlformats.org/officeDocument/2006/relationships/tags" Target="../tags/tag598.xml"/><Relationship Id="rId14" Type="http://schemas.openxmlformats.org/officeDocument/2006/relationships/oleObject" Target="../embeddings/oleObject64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609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04.xml"/><Relationship Id="rId7" Type="http://schemas.openxmlformats.org/officeDocument/2006/relationships/tags" Target="../tags/tag608.xml"/><Relationship Id="rId12" Type="http://schemas.openxmlformats.org/officeDocument/2006/relationships/tags" Target="../tags/tag613.xml"/><Relationship Id="rId2" Type="http://schemas.openxmlformats.org/officeDocument/2006/relationships/tags" Target="../tags/tag603.xml"/><Relationship Id="rId1" Type="http://schemas.openxmlformats.org/officeDocument/2006/relationships/tags" Target="../tags/tag602.xml"/><Relationship Id="rId6" Type="http://schemas.openxmlformats.org/officeDocument/2006/relationships/tags" Target="../tags/tag607.xml"/><Relationship Id="rId11" Type="http://schemas.openxmlformats.org/officeDocument/2006/relationships/tags" Target="../tags/tag612.xml"/><Relationship Id="rId5" Type="http://schemas.openxmlformats.org/officeDocument/2006/relationships/tags" Target="../tags/tag606.xml"/><Relationship Id="rId15" Type="http://schemas.openxmlformats.org/officeDocument/2006/relationships/image" Target="../media/image5.emf"/><Relationship Id="rId10" Type="http://schemas.openxmlformats.org/officeDocument/2006/relationships/tags" Target="../tags/tag611.xml"/><Relationship Id="rId4" Type="http://schemas.openxmlformats.org/officeDocument/2006/relationships/tags" Target="../tags/tag605.xml"/><Relationship Id="rId9" Type="http://schemas.openxmlformats.org/officeDocument/2006/relationships/tags" Target="../tags/tag610.xml"/><Relationship Id="rId14" Type="http://schemas.openxmlformats.org/officeDocument/2006/relationships/oleObject" Target="../embeddings/oleObject65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621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16.xml"/><Relationship Id="rId7" Type="http://schemas.openxmlformats.org/officeDocument/2006/relationships/tags" Target="../tags/tag620.xml"/><Relationship Id="rId12" Type="http://schemas.openxmlformats.org/officeDocument/2006/relationships/tags" Target="../tags/tag625.xml"/><Relationship Id="rId2" Type="http://schemas.openxmlformats.org/officeDocument/2006/relationships/tags" Target="../tags/tag615.xml"/><Relationship Id="rId1" Type="http://schemas.openxmlformats.org/officeDocument/2006/relationships/tags" Target="../tags/tag614.xml"/><Relationship Id="rId6" Type="http://schemas.openxmlformats.org/officeDocument/2006/relationships/tags" Target="../tags/tag619.xml"/><Relationship Id="rId11" Type="http://schemas.openxmlformats.org/officeDocument/2006/relationships/tags" Target="../tags/tag624.xml"/><Relationship Id="rId5" Type="http://schemas.openxmlformats.org/officeDocument/2006/relationships/tags" Target="../tags/tag618.xml"/><Relationship Id="rId15" Type="http://schemas.openxmlformats.org/officeDocument/2006/relationships/image" Target="../media/image9.emf"/><Relationship Id="rId10" Type="http://schemas.openxmlformats.org/officeDocument/2006/relationships/tags" Target="../tags/tag623.xml"/><Relationship Id="rId4" Type="http://schemas.openxmlformats.org/officeDocument/2006/relationships/tags" Target="../tags/tag617.xml"/><Relationship Id="rId9" Type="http://schemas.openxmlformats.org/officeDocument/2006/relationships/tags" Target="../tags/tag622.xml"/><Relationship Id="rId14" Type="http://schemas.openxmlformats.org/officeDocument/2006/relationships/oleObject" Target="../embeddings/oleObject66.bin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633.xml"/><Relationship Id="rId13" Type="http://schemas.openxmlformats.org/officeDocument/2006/relationships/slideMaster" Target="../slideMasters/slideMaster6.xml"/><Relationship Id="rId3" Type="http://schemas.openxmlformats.org/officeDocument/2006/relationships/tags" Target="../tags/tag628.xml"/><Relationship Id="rId7" Type="http://schemas.openxmlformats.org/officeDocument/2006/relationships/tags" Target="../tags/tag632.xml"/><Relationship Id="rId12" Type="http://schemas.openxmlformats.org/officeDocument/2006/relationships/tags" Target="../tags/tag637.xml"/><Relationship Id="rId2" Type="http://schemas.openxmlformats.org/officeDocument/2006/relationships/tags" Target="../tags/tag627.xml"/><Relationship Id="rId1" Type="http://schemas.openxmlformats.org/officeDocument/2006/relationships/tags" Target="../tags/tag626.xml"/><Relationship Id="rId6" Type="http://schemas.openxmlformats.org/officeDocument/2006/relationships/tags" Target="../tags/tag631.xml"/><Relationship Id="rId11" Type="http://schemas.openxmlformats.org/officeDocument/2006/relationships/tags" Target="../tags/tag636.xml"/><Relationship Id="rId5" Type="http://schemas.openxmlformats.org/officeDocument/2006/relationships/tags" Target="../tags/tag630.xml"/><Relationship Id="rId15" Type="http://schemas.openxmlformats.org/officeDocument/2006/relationships/image" Target="../media/image5.emf"/><Relationship Id="rId10" Type="http://schemas.openxmlformats.org/officeDocument/2006/relationships/tags" Target="../tags/tag635.xml"/><Relationship Id="rId4" Type="http://schemas.openxmlformats.org/officeDocument/2006/relationships/tags" Target="../tags/tag629.xml"/><Relationship Id="rId9" Type="http://schemas.openxmlformats.org/officeDocument/2006/relationships/tags" Target="../tags/tag634.xml"/><Relationship Id="rId14" Type="http://schemas.openxmlformats.org/officeDocument/2006/relationships/oleObject" Target="../embeddings/oleObject67.bin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645.xml"/><Relationship Id="rId3" Type="http://schemas.openxmlformats.org/officeDocument/2006/relationships/tags" Target="../tags/tag640.xml"/><Relationship Id="rId7" Type="http://schemas.openxmlformats.org/officeDocument/2006/relationships/tags" Target="../tags/tag644.xml"/><Relationship Id="rId12" Type="http://schemas.openxmlformats.org/officeDocument/2006/relationships/image" Target="../media/image1.emf"/><Relationship Id="rId2" Type="http://schemas.openxmlformats.org/officeDocument/2006/relationships/tags" Target="../tags/tag639.xml"/><Relationship Id="rId1" Type="http://schemas.openxmlformats.org/officeDocument/2006/relationships/tags" Target="../tags/tag638.xml"/><Relationship Id="rId6" Type="http://schemas.openxmlformats.org/officeDocument/2006/relationships/tags" Target="../tags/tag643.xml"/><Relationship Id="rId11" Type="http://schemas.openxmlformats.org/officeDocument/2006/relationships/oleObject" Target="../embeddings/oleObject68.bin"/><Relationship Id="rId5" Type="http://schemas.openxmlformats.org/officeDocument/2006/relationships/tags" Target="../tags/tag64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641.xml"/><Relationship Id="rId9" Type="http://schemas.openxmlformats.org/officeDocument/2006/relationships/tags" Target="../tags/tag646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649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648.xml"/><Relationship Id="rId1" Type="http://schemas.openxmlformats.org/officeDocument/2006/relationships/tags" Target="../tags/tag647.xml"/><Relationship Id="rId6" Type="http://schemas.openxmlformats.org/officeDocument/2006/relationships/tags" Target="../tags/tag652.xml"/><Relationship Id="rId5" Type="http://schemas.openxmlformats.org/officeDocument/2006/relationships/tags" Target="../tags/tag651.xml"/><Relationship Id="rId4" Type="http://schemas.openxmlformats.org/officeDocument/2006/relationships/tags" Target="../tags/tag650.xml"/><Relationship Id="rId9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655.xml"/><Relationship Id="rId2" Type="http://schemas.openxmlformats.org/officeDocument/2006/relationships/tags" Target="../tags/tag654.xml"/><Relationship Id="rId1" Type="http://schemas.openxmlformats.org/officeDocument/2006/relationships/tags" Target="../tags/tag65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2" Type="http://schemas.openxmlformats.org/officeDocument/2006/relationships/tags" Target="../tags/tag657.xml"/><Relationship Id="rId1" Type="http://schemas.openxmlformats.org/officeDocument/2006/relationships/tags" Target="../tags/tag656.xml"/><Relationship Id="rId6" Type="http://schemas.openxmlformats.org/officeDocument/2006/relationships/tags" Target="../tags/tag661.xml"/><Relationship Id="rId5" Type="http://schemas.openxmlformats.org/officeDocument/2006/relationships/tags" Target="../tags/tag660.xml"/><Relationship Id="rId10" Type="http://schemas.openxmlformats.org/officeDocument/2006/relationships/image" Target="../media/image5.emf"/><Relationship Id="rId4" Type="http://schemas.openxmlformats.org/officeDocument/2006/relationships/tags" Target="../tags/tag659.xml"/><Relationship Id="rId9" Type="http://schemas.openxmlformats.org/officeDocument/2006/relationships/oleObject" Target="../embeddings/oleObject7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4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666.xml"/><Relationship Id="rId7" Type="http://schemas.openxmlformats.org/officeDocument/2006/relationships/tags" Target="../tags/tag670.xml"/><Relationship Id="rId2" Type="http://schemas.openxmlformats.org/officeDocument/2006/relationships/tags" Target="../tags/tag665.xml"/><Relationship Id="rId1" Type="http://schemas.openxmlformats.org/officeDocument/2006/relationships/tags" Target="../tags/tag664.xml"/><Relationship Id="rId6" Type="http://schemas.openxmlformats.org/officeDocument/2006/relationships/tags" Target="../tags/tag669.xml"/><Relationship Id="rId5" Type="http://schemas.openxmlformats.org/officeDocument/2006/relationships/tags" Target="../tags/tag668.xml"/><Relationship Id="rId10" Type="http://schemas.openxmlformats.org/officeDocument/2006/relationships/image" Target="../media/image5.emf"/><Relationship Id="rId4" Type="http://schemas.openxmlformats.org/officeDocument/2006/relationships/tags" Target="../tags/tag667.xml"/><Relationship Id="rId9" Type="http://schemas.openxmlformats.org/officeDocument/2006/relationships/oleObject" Target="../embeddings/oleObject73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9.emf"/><Relationship Id="rId4" Type="http://schemas.openxmlformats.org/officeDocument/2006/relationships/image" Target="../media/image4.png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7.png"/><Relationship Id="rId3" Type="http://schemas.openxmlformats.org/officeDocument/2006/relationships/tags" Target="../tags/tag694.xml"/><Relationship Id="rId7" Type="http://schemas.openxmlformats.org/officeDocument/2006/relationships/oleObject" Target="../embeddings/oleObject76.bin"/><Relationship Id="rId12" Type="http://schemas.openxmlformats.org/officeDocument/2006/relationships/image" Target="../media/image16.svg"/><Relationship Id="rId2" Type="http://schemas.openxmlformats.org/officeDocument/2006/relationships/tags" Target="../tags/tag693.xml"/><Relationship Id="rId1" Type="http://schemas.openxmlformats.org/officeDocument/2006/relationships/tags" Target="../tags/tag692.xml"/><Relationship Id="rId6" Type="http://schemas.openxmlformats.org/officeDocument/2006/relationships/slideMaster" Target="../slideMasters/slideMaster9.xml"/><Relationship Id="rId11" Type="http://schemas.openxmlformats.org/officeDocument/2006/relationships/image" Target="../media/image15.png"/><Relationship Id="rId5" Type="http://schemas.openxmlformats.org/officeDocument/2006/relationships/tags" Target="../tags/tag696.xml"/><Relationship Id="rId10" Type="http://schemas.openxmlformats.org/officeDocument/2006/relationships/image" Target="../media/image14.svg"/><Relationship Id="rId4" Type="http://schemas.openxmlformats.org/officeDocument/2006/relationships/tags" Target="../tags/tag695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3" Type="http://schemas.openxmlformats.org/officeDocument/2006/relationships/tags" Target="../tags/tag699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698.xml"/><Relationship Id="rId1" Type="http://schemas.openxmlformats.org/officeDocument/2006/relationships/tags" Target="../tags/tag697.xml"/><Relationship Id="rId6" Type="http://schemas.openxmlformats.org/officeDocument/2006/relationships/tags" Target="../tags/tag702.xml"/><Relationship Id="rId5" Type="http://schemas.openxmlformats.org/officeDocument/2006/relationships/tags" Target="../tags/tag701.xml"/><Relationship Id="rId4" Type="http://schemas.openxmlformats.org/officeDocument/2006/relationships/tags" Target="../tags/tag700.xml"/><Relationship Id="rId9" Type="http://schemas.openxmlformats.org/officeDocument/2006/relationships/image" Target="../media/image1.emf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705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04.xml"/><Relationship Id="rId1" Type="http://schemas.openxmlformats.org/officeDocument/2006/relationships/tags" Target="../tags/tag703.xml"/><Relationship Id="rId6" Type="http://schemas.openxmlformats.org/officeDocument/2006/relationships/tags" Target="../tags/tag708.xml"/><Relationship Id="rId5" Type="http://schemas.openxmlformats.org/officeDocument/2006/relationships/tags" Target="../tags/tag707.xml"/><Relationship Id="rId4" Type="http://schemas.openxmlformats.org/officeDocument/2006/relationships/tags" Target="../tags/tag706.xml"/><Relationship Id="rId9" Type="http://schemas.openxmlformats.org/officeDocument/2006/relationships/image" Target="../media/image1.emf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9.bin"/><Relationship Id="rId3" Type="http://schemas.openxmlformats.org/officeDocument/2006/relationships/tags" Target="../tags/tag711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10.xml"/><Relationship Id="rId1" Type="http://schemas.openxmlformats.org/officeDocument/2006/relationships/tags" Target="../tags/tag709.xml"/><Relationship Id="rId6" Type="http://schemas.openxmlformats.org/officeDocument/2006/relationships/tags" Target="../tags/tag714.xml"/><Relationship Id="rId5" Type="http://schemas.openxmlformats.org/officeDocument/2006/relationships/tags" Target="../tags/tag713.xml"/><Relationship Id="rId4" Type="http://schemas.openxmlformats.org/officeDocument/2006/relationships/tags" Target="../tags/tag712.xml"/><Relationship Id="rId9" Type="http://schemas.openxmlformats.org/officeDocument/2006/relationships/image" Target="../media/image1.emf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717.xml"/><Relationship Id="rId7" Type="http://schemas.openxmlformats.org/officeDocument/2006/relationships/tags" Target="../tags/tag721.xml"/><Relationship Id="rId2" Type="http://schemas.openxmlformats.org/officeDocument/2006/relationships/tags" Target="../tags/tag716.xml"/><Relationship Id="rId1" Type="http://schemas.openxmlformats.org/officeDocument/2006/relationships/tags" Target="../tags/tag715.xml"/><Relationship Id="rId6" Type="http://schemas.openxmlformats.org/officeDocument/2006/relationships/tags" Target="../tags/tag720.xml"/><Relationship Id="rId5" Type="http://schemas.openxmlformats.org/officeDocument/2006/relationships/tags" Target="../tags/tag719.xml"/><Relationship Id="rId10" Type="http://schemas.openxmlformats.org/officeDocument/2006/relationships/image" Target="../media/image5.emf"/><Relationship Id="rId4" Type="http://schemas.openxmlformats.org/officeDocument/2006/relationships/tags" Target="../tags/tag718.xml"/><Relationship Id="rId9" Type="http://schemas.openxmlformats.org/officeDocument/2006/relationships/oleObject" Target="../embeddings/oleObject80.bin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1.bin"/><Relationship Id="rId3" Type="http://schemas.openxmlformats.org/officeDocument/2006/relationships/tags" Target="../tags/tag724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23.xml"/><Relationship Id="rId1" Type="http://schemas.openxmlformats.org/officeDocument/2006/relationships/tags" Target="../tags/tag722.xml"/><Relationship Id="rId6" Type="http://schemas.openxmlformats.org/officeDocument/2006/relationships/tags" Target="../tags/tag727.xml"/><Relationship Id="rId5" Type="http://schemas.openxmlformats.org/officeDocument/2006/relationships/tags" Target="../tags/tag726.xml"/><Relationship Id="rId4" Type="http://schemas.openxmlformats.org/officeDocument/2006/relationships/tags" Target="../tags/tag725.xml"/><Relationship Id="rId9" Type="http://schemas.openxmlformats.org/officeDocument/2006/relationships/image" Target="../media/image1.emf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730.xml"/><Relationship Id="rId7" Type="http://schemas.openxmlformats.org/officeDocument/2006/relationships/tags" Target="../tags/tag734.xml"/><Relationship Id="rId2" Type="http://schemas.openxmlformats.org/officeDocument/2006/relationships/tags" Target="../tags/tag729.xml"/><Relationship Id="rId1" Type="http://schemas.openxmlformats.org/officeDocument/2006/relationships/tags" Target="../tags/tag728.xml"/><Relationship Id="rId6" Type="http://schemas.openxmlformats.org/officeDocument/2006/relationships/tags" Target="../tags/tag733.xml"/><Relationship Id="rId5" Type="http://schemas.openxmlformats.org/officeDocument/2006/relationships/tags" Target="../tags/tag732.xml"/><Relationship Id="rId10" Type="http://schemas.openxmlformats.org/officeDocument/2006/relationships/image" Target="../media/image1.emf"/><Relationship Id="rId4" Type="http://schemas.openxmlformats.org/officeDocument/2006/relationships/tags" Target="../tags/tag731.xml"/><Relationship Id="rId9" Type="http://schemas.openxmlformats.org/officeDocument/2006/relationships/oleObject" Target="../embeddings/oleObject82.bin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tags" Target="../tags/tag742.xml"/><Relationship Id="rId3" Type="http://schemas.openxmlformats.org/officeDocument/2006/relationships/tags" Target="../tags/tag737.xml"/><Relationship Id="rId7" Type="http://schemas.openxmlformats.org/officeDocument/2006/relationships/tags" Target="../tags/tag741.xml"/><Relationship Id="rId2" Type="http://schemas.openxmlformats.org/officeDocument/2006/relationships/tags" Target="../tags/tag736.xml"/><Relationship Id="rId1" Type="http://schemas.openxmlformats.org/officeDocument/2006/relationships/tags" Target="../tags/tag735.xml"/><Relationship Id="rId6" Type="http://schemas.openxmlformats.org/officeDocument/2006/relationships/tags" Target="../tags/tag740.xml"/><Relationship Id="rId11" Type="http://schemas.openxmlformats.org/officeDocument/2006/relationships/image" Target="../media/image5.emf"/><Relationship Id="rId5" Type="http://schemas.openxmlformats.org/officeDocument/2006/relationships/tags" Target="../tags/tag739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738.xml"/><Relationship Id="rId9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750.xml"/><Relationship Id="rId3" Type="http://schemas.openxmlformats.org/officeDocument/2006/relationships/tags" Target="../tags/tag745.xml"/><Relationship Id="rId7" Type="http://schemas.openxmlformats.org/officeDocument/2006/relationships/tags" Target="../tags/tag749.xml"/><Relationship Id="rId2" Type="http://schemas.openxmlformats.org/officeDocument/2006/relationships/tags" Target="../tags/tag744.xml"/><Relationship Id="rId1" Type="http://schemas.openxmlformats.org/officeDocument/2006/relationships/tags" Target="../tags/tag743.xml"/><Relationship Id="rId6" Type="http://schemas.openxmlformats.org/officeDocument/2006/relationships/tags" Target="../tags/tag748.xml"/><Relationship Id="rId11" Type="http://schemas.openxmlformats.org/officeDocument/2006/relationships/image" Target="../media/image5.emf"/><Relationship Id="rId5" Type="http://schemas.openxmlformats.org/officeDocument/2006/relationships/tags" Target="../tags/tag747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746.xml"/><Relationship Id="rId9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758.xml"/><Relationship Id="rId3" Type="http://schemas.openxmlformats.org/officeDocument/2006/relationships/tags" Target="../tags/tag753.xml"/><Relationship Id="rId7" Type="http://schemas.openxmlformats.org/officeDocument/2006/relationships/tags" Target="../tags/tag757.xml"/><Relationship Id="rId2" Type="http://schemas.openxmlformats.org/officeDocument/2006/relationships/tags" Target="../tags/tag752.xml"/><Relationship Id="rId1" Type="http://schemas.openxmlformats.org/officeDocument/2006/relationships/tags" Target="../tags/tag751.xml"/><Relationship Id="rId6" Type="http://schemas.openxmlformats.org/officeDocument/2006/relationships/tags" Target="../tags/tag756.xml"/><Relationship Id="rId11" Type="http://schemas.openxmlformats.org/officeDocument/2006/relationships/image" Target="../media/image5.emf"/><Relationship Id="rId5" Type="http://schemas.openxmlformats.org/officeDocument/2006/relationships/tags" Target="../tags/tag755.xml"/><Relationship Id="rId10" Type="http://schemas.openxmlformats.org/officeDocument/2006/relationships/oleObject" Target="../embeddings/oleObject85.bin"/><Relationship Id="rId4" Type="http://schemas.openxmlformats.org/officeDocument/2006/relationships/tags" Target="../tags/tag754.xml"/><Relationship Id="rId9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766.xml"/><Relationship Id="rId3" Type="http://schemas.openxmlformats.org/officeDocument/2006/relationships/tags" Target="../tags/tag761.xml"/><Relationship Id="rId7" Type="http://schemas.openxmlformats.org/officeDocument/2006/relationships/tags" Target="../tags/tag765.xml"/><Relationship Id="rId2" Type="http://schemas.openxmlformats.org/officeDocument/2006/relationships/tags" Target="../tags/tag760.xml"/><Relationship Id="rId1" Type="http://schemas.openxmlformats.org/officeDocument/2006/relationships/tags" Target="../tags/tag759.xml"/><Relationship Id="rId6" Type="http://schemas.openxmlformats.org/officeDocument/2006/relationships/tags" Target="../tags/tag764.xml"/><Relationship Id="rId11" Type="http://schemas.openxmlformats.org/officeDocument/2006/relationships/image" Target="../media/image9.emf"/><Relationship Id="rId5" Type="http://schemas.openxmlformats.org/officeDocument/2006/relationships/tags" Target="../tags/tag763.xml"/><Relationship Id="rId10" Type="http://schemas.openxmlformats.org/officeDocument/2006/relationships/oleObject" Target="../embeddings/oleObject86.bin"/><Relationship Id="rId4" Type="http://schemas.openxmlformats.org/officeDocument/2006/relationships/tags" Target="../tags/tag762.xml"/><Relationship Id="rId9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tags" Target="../tags/tag774.xml"/><Relationship Id="rId3" Type="http://schemas.openxmlformats.org/officeDocument/2006/relationships/tags" Target="../tags/tag769.xml"/><Relationship Id="rId7" Type="http://schemas.openxmlformats.org/officeDocument/2006/relationships/tags" Target="../tags/tag773.xml"/><Relationship Id="rId2" Type="http://schemas.openxmlformats.org/officeDocument/2006/relationships/tags" Target="../tags/tag768.xml"/><Relationship Id="rId1" Type="http://schemas.openxmlformats.org/officeDocument/2006/relationships/tags" Target="../tags/tag767.xml"/><Relationship Id="rId6" Type="http://schemas.openxmlformats.org/officeDocument/2006/relationships/tags" Target="../tags/tag772.xml"/><Relationship Id="rId11" Type="http://schemas.openxmlformats.org/officeDocument/2006/relationships/image" Target="../media/image5.emf"/><Relationship Id="rId5" Type="http://schemas.openxmlformats.org/officeDocument/2006/relationships/tags" Target="../tags/tag771.xml"/><Relationship Id="rId10" Type="http://schemas.openxmlformats.org/officeDocument/2006/relationships/oleObject" Target="../embeddings/oleObject87.bin"/><Relationship Id="rId4" Type="http://schemas.openxmlformats.org/officeDocument/2006/relationships/tags" Target="../tags/tag770.xml"/><Relationship Id="rId9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8.bin"/><Relationship Id="rId3" Type="http://schemas.openxmlformats.org/officeDocument/2006/relationships/tags" Target="../tags/tag77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776.xml"/><Relationship Id="rId1" Type="http://schemas.openxmlformats.org/officeDocument/2006/relationships/tags" Target="../tags/tag775.xml"/><Relationship Id="rId6" Type="http://schemas.openxmlformats.org/officeDocument/2006/relationships/tags" Target="../tags/tag780.xml"/><Relationship Id="rId5" Type="http://schemas.openxmlformats.org/officeDocument/2006/relationships/tags" Target="../tags/tag779.xml"/><Relationship Id="rId4" Type="http://schemas.openxmlformats.org/officeDocument/2006/relationships/tags" Target="../tags/tag778.xml"/><Relationship Id="rId9" Type="http://schemas.openxmlformats.org/officeDocument/2006/relationships/image" Target="../media/image1.emf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783.xml"/><Relationship Id="rId7" Type="http://schemas.openxmlformats.org/officeDocument/2006/relationships/image" Target="../media/image1.emf"/><Relationship Id="rId2" Type="http://schemas.openxmlformats.org/officeDocument/2006/relationships/tags" Target="../tags/tag782.xml"/><Relationship Id="rId1" Type="http://schemas.openxmlformats.org/officeDocument/2006/relationships/tags" Target="../tags/tag781.xml"/><Relationship Id="rId6" Type="http://schemas.openxmlformats.org/officeDocument/2006/relationships/oleObject" Target="../embeddings/oleObject89.bin"/><Relationship Id="rId5" Type="http://schemas.openxmlformats.org/officeDocument/2006/relationships/slideMaster" Target="../slideMasters/slideMaster9.xml"/><Relationship Id="rId4" Type="http://schemas.openxmlformats.org/officeDocument/2006/relationships/tags" Target="../tags/tag784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786.xml"/><Relationship Id="rId1" Type="http://schemas.openxmlformats.org/officeDocument/2006/relationships/tags" Target="../tags/tag78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87.xml"/><Relationship Id="rId4" Type="http://schemas.openxmlformats.org/officeDocument/2006/relationships/image" Target="../media/image12.emf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4.pn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89.xml"/><Relationship Id="rId4" Type="http://schemas.openxmlformats.org/officeDocument/2006/relationships/image" Target="../media/image1.emf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12.xml"/><Relationship Id="rId7" Type="http://schemas.openxmlformats.org/officeDocument/2006/relationships/oleObject" Target="../embeddings/oleObject95.bin"/><Relationship Id="rId2" Type="http://schemas.openxmlformats.org/officeDocument/2006/relationships/tags" Target="../tags/tag811.xml"/><Relationship Id="rId1" Type="http://schemas.openxmlformats.org/officeDocument/2006/relationships/tags" Target="../tags/tag810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814.xml"/><Relationship Id="rId4" Type="http://schemas.openxmlformats.org/officeDocument/2006/relationships/tags" Target="../tags/tag813.xml"/><Relationship Id="rId9" Type="http://schemas.openxmlformats.org/officeDocument/2006/relationships/image" Target="../media/image6.jpeg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17.xml"/><Relationship Id="rId7" Type="http://schemas.openxmlformats.org/officeDocument/2006/relationships/tags" Target="../tags/tag821.xml"/><Relationship Id="rId2" Type="http://schemas.openxmlformats.org/officeDocument/2006/relationships/tags" Target="../tags/tag816.xml"/><Relationship Id="rId1" Type="http://schemas.openxmlformats.org/officeDocument/2006/relationships/tags" Target="../tags/tag815.xml"/><Relationship Id="rId6" Type="http://schemas.openxmlformats.org/officeDocument/2006/relationships/tags" Target="../tags/tag820.xml"/><Relationship Id="rId5" Type="http://schemas.openxmlformats.org/officeDocument/2006/relationships/tags" Target="../tags/tag819.xml"/><Relationship Id="rId10" Type="http://schemas.openxmlformats.org/officeDocument/2006/relationships/image" Target="../media/image5.emf"/><Relationship Id="rId4" Type="http://schemas.openxmlformats.org/officeDocument/2006/relationships/tags" Target="../tags/tag818.xml"/><Relationship Id="rId9" Type="http://schemas.openxmlformats.org/officeDocument/2006/relationships/oleObject" Target="../embeddings/oleObject96.bin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7.bin"/><Relationship Id="rId3" Type="http://schemas.openxmlformats.org/officeDocument/2006/relationships/tags" Target="../tags/tag82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23.xml"/><Relationship Id="rId1" Type="http://schemas.openxmlformats.org/officeDocument/2006/relationships/tags" Target="../tags/tag822.xml"/><Relationship Id="rId6" Type="http://schemas.openxmlformats.org/officeDocument/2006/relationships/tags" Target="../tags/tag827.xml"/><Relationship Id="rId5" Type="http://schemas.openxmlformats.org/officeDocument/2006/relationships/tags" Target="../tags/tag826.xml"/><Relationship Id="rId10" Type="http://schemas.openxmlformats.org/officeDocument/2006/relationships/image" Target="../media/image7.png"/><Relationship Id="rId4" Type="http://schemas.openxmlformats.org/officeDocument/2006/relationships/tags" Target="../tags/tag825.xml"/><Relationship Id="rId9" Type="http://schemas.openxmlformats.org/officeDocument/2006/relationships/image" Target="../media/image1.emf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30.xml"/><Relationship Id="rId7" Type="http://schemas.openxmlformats.org/officeDocument/2006/relationships/tags" Target="../tags/tag834.xml"/><Relationship Id="rId2" Type="http://schemas.openxmlformats.org/officeDocument/2006/relationships/tags" Target="../tags/tag829.xml"/><Relationship Id="rId1" Type="http://schemas.openxmlformats.org/officeDocument/2006/relationships/tags" Target="../tags/tag828.xml"/><Relationship Id="rId6" Type="http://schemas.openxmlformats.org/officeDocument/2006/relationships/tags" Target="../tags/tag833.xml"/><Relationship Id="rId11" Type="http://schemas.openxmlformats.org/officeDocument/2006/relationships/image" Target="../media/image8.jpeg"/><Relationship Id="rId5" Type="http://schemas.openxmlformats.org/officeDocument/2006/relationships/tags" Target="../tags/tag832.xml"/><Relationship Id="rId10" Type="http://schemas.openxmlformats.org/officeDocument/2006/relationships/image" Target="../media/image1.emf"/><Relationship Id="rId4" Type="http://schemas.openxmlformats.org/officeDocument/2006/relationships/tags" Target="../tags/tag831.xml"/><Relationship Id="rId9" Type="http://schemas.openxmlformats.org/officeDocument/2006/relationships/oleObject" Target="../embeddings/oleObject98.bin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9.bin"/><Relationship Id="rId3" Type="http://schemas.openxmlformats.org/officeDocument/2006/relationships/tags" Target="../tags/tag837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36.xml"/><Relationship Id="rId1" Type="http://schemas.openxmlformats.org/officeDocument/2006/relationships/tags" Target="../tags/tag835.xml"/><Relationship Id="rId6" Type="http://schemas.openxmlformats.org/officeDocument/2006/relationships/tags" Target="../tags/tag840.xml"/><Relationship Id="rId5" Type="http://schemas.openxmlformats.org/officeDocument/2006/relationships/tags" Target="../tags/tag839.xml"/><Relationship Id="rId4" Type="http://schemas.openxmlformats.org/officeDocument/2006/relationships/tags" Target="../tags/tag838.xml"/><Relationship Id="rId9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0.bin"/><Relationship Id="rId3" Type="http://schemas.openxmlformats.org/officeDocument/2006/relationships/tags" Target="../tags/tag843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42.xml"/><Relationship Id="rId1" Type="http://schemas.openxmlformats.org/officeDocument/2006/relationships/tags" Target="../tags/tag841.xml"/><Relationship Id="rId6" Type="http://schemas.openxmlformats.org/officeDocument/2006/relationships/tags" Target="../tags/tag846.xml"/><Relationship Id="rId5" Type="http://schemas.openxmlformats.org/officeDocument/2006/relationships/tags" Target="../tags/tag845.xml"/><Relationship Id="rId4" Type="http://schemas.openxmlformats.org/officeDocument/2006/relationships/tags" Target="../tags/tag844.xml"/><Relationship Id="rId9" Type="http://schemas.openxmlformats.org/officeDocument/2006/relationships/image" Target="../media/image1.emf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849.xml"/><Relationship Id="rId7" Type="http://schemas.openxmlformats.org/officeDocument/2006/relationships/tags" Target="../tags/tag853.xml"/><Relationship Id="rId2" Type="http://schemas.openxmlformats.org/officeDocument/2006/relationships/tags" Target="../tags/tag848.xml"/><Relationship Id="rId1" Type="http://schemas.openxmlformats.org/officeDocument/2006/relationships/tags" Target="../tags/tag847.xml"/><Relationship Id="rId6" Type="http://schemas.openxmlformats.org/officeDocument/2006/relationships/tags" Target="../tags/tag852.xml"/><Relationship Id="rId5" Type="http://schemas.openxmlformats.org/officeDocument/2006/relationships/tags" Target="../tags/tag851.xml"/><Relationship Id="rId10" Type="http://schemas.openxmlformats.org/officeDocument/2006/relationships/image" Target="../media/image1.emf"/><Relationship Id="rId4" Type="http://schemas.openxmlformats.org/officeDocument/2006/relationships/tags" Target="../tags/tag850.xml"/><Relationship Id="rId9" Type="http://schemas.openxmlformats.org/officeDocument/2006/relationships/oleObject" Target="../embeddings/oleObject101.bin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tags" Target="../tags/tag861.xml"/><Relationship Id="rId3" Type="http://schemas.openxmlformats.org/officeDocument/2006/relationships/tags" Target="../tags/tag856.xml"/><Relationship Id="rId7" Type="http://schemas.openxmlformats.org/officeDocument/2006/relationships/tags" Target="../tags/tag860.xml"/><Relationship Id="rId2" Type="http://schemas.openxmlformats.org/officeDocument/2006/relationships/tags" Target="../tags/tag855.xml"/><Relationship Id="rId1" Type="http://schemas.openxmlformats.org/officeDocument/2006/relationships/tags" Target="../tags/tag854.xml"/><Relationship Id="rId6" Type="http://schemas.openxmlformats.org/officeDocument/2006/relationships/tags" Target="../tags/tag859.xml"/><Relationship Id="rId11" Type="http://schemas.openxmlformats.org/officeDocument/2006/relationships/image" Target="../media/image5.emf"/><Relationship Id="rId5" Type="http://schemas.openxmlformats.org/officeDocument/2006/relationships/tags" Target="../tags/tag858.xml"/><Relationship Id="rId10" Type="http://schemas.openxmlformats.org/officeDocument/2006/relationships/oleObject" Target="../embeddings/oleObject102.bin"/><Relationship Id="rId4" Type="http://schemas.openxmlformats.org/officeDocument/2006/relationships/tags" Target="../tags/tag857.xml"/><Relationship Id="rId9" Type="http://schemas.openxmlformats.org/officeDocument/2006/relationships/slideMaster" Target="../slideMasters/slideMaster11.xml"/></Relationships>
</file>

<file path=ppt/slideLayouts/_rels/slideLayout233.xml.rels><?xml version="1.0" encoding="UTF-8" standalone="yes"?>
<Relationships xmlns="http://schemas.openxmlformats.org/package/2006/relationships"><Relationship Id="rId8" Type="http://schemas.openxmlformats.org/officeDocument/2006/relationships/tags" Target="../tags/tag869.xml"/><Relationship Id="rId3" Type="http://schemas.openxmlformats.org/officeDocument/2006/relationships/tags" Target="../tags/tag864.xml"/><Relationship Id="rId7" Type="http://schemas.openxmlformats.org/officeDocument/2006/relationships/tags" Target="../tags/tag868.xml"/><Relationship Id="rId2" Type="http://schemas.openxmlformats.org/officeDocument/2006/relationships/tags" Target="../tags/tag863.xml"/><Relationship Id="rId1" Type="http://schemas.openxmlformats.org/officeDocument/2006/relationships/tags" Target="../tags/tag862.xml"/><Relationship Id="rId6" Type="http://schemas.openxmlformats.org/officeDocument/2006/relationships/tags" Target="../tags/tag867.xml"/><Relationship Id="rId11" Type="http://schemas.openxmlformats.org/officeDocument/2006/relationships/image" Target="../media/image5.emf"/><Relationship Id="rId5" Type="http://schemas.openxmlformats.org/officeDocument/2006/relationships/tags" Target="../tags/tag866.xml"/><Relationship Id="rId10" Type="http://schemas.openxmlformats.org/officeDocument/2006/relationships/oleObject" Target="../embeddings/oleObject103.bin"/><Relationship Id="rId4" Type="http://schemas.openxmlformats.org/officeDocument/2006/relationships/tags" Target="../tags/tag865.xml"/><Relationship Id="rId9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tags" Target="../tags/tag877.xml"/><Relationship Id="rId3" Type="http://schemas.openxmlformats.org/officeDocument/2006/relationships/tags" Target="../tags/tag872.xml"/><Relationship Id="rId7" Type="http://schemas.openxmlformats.org/officeDocument/2006/relationships/tags" Target="../tags/tag876.xml"/><Relationship Id="rId2" Type="http://schemas.openxmlformats.org/officeDocument/2006/relationships/tags" Target="../tags/tag871.xml"/><Relationship Id="rId1" Type="http://schemas.openxmlformats.org/officeDocument/2006/relationships/tags" Target="../tags/tag870.xml"/><Relationship Id="rId6" Type="http://schemas.openxmlformats.org/officeDocument/2006/relationships/tags" Target="../tags/tag875.xml"/><Relationship Id="rId11" Type="http://schemas.openxmlformats.org/officeDocument/2006/relationships/image" Target="../media/image5.emf"/><Relationship Id="rId5" Type="http://schemas.openxmlformats.org/officeDocument/2006/relationships/tags" Target="../tags/tag874.xml"/><Relationship Id="rId10" Type="http://schemas.openxmlformats.org/officeDocument/2006/relationships/oleObject" Target="../embeddings/oleObject104.bin"/><Relationship Id="rId4" Type="http://schemas.openxmlformats.org/officeDocument/2006/relationships/tags" Target="../tags/tag873.xml"/><Relationship Id="rId9" Type="http://schemas.openxmlformats.org/officeDocument/2006/relationships/slideMaster" Target="../slideMasters/slideMaster11.xml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tags" Target="../tags/tag885.xml"/><Relationship Id="rId3" Type="http://schemas.openxmlformats.org/officeDocument/2006/relationships/tags" Target="../tags/tag880.xml"/><Relationship Id="rId7" Type="http://schemas.openxmlformats.org/officeDocument/2006/relationships/tags" Target="../tags/tag884.xml"/><Relationship Id="rId2" Type="http://schemas.openxmlformats.org/officeDocument/2006/relationships/tags" Target="../tags/tag879.xml"/><Relationship Id="rId1" Type="http://schemas.openxmlformats.org/officeDocument/2006/relationships/tags" Target="../tags/tag878.xml"/><Relationship Id="rId6" Type="http://schemas.openxmlformats.org/officeDocument/2006/relationships/tags" Target="../tags/tag883.xml"/><Relationship Id="rId11" Type="http://schemas.openxmlformats.org/officeDocument/2006/relationships/image" Target="../media/image9.emf"/><Relationship Id="rId5" Type="http://schemas.openxmlformats.org/officeDocument/2006/relationships/tags" Target="../tags/tag882.xml"/><Relationship Id="rId10" Type="http://schemas.openxmlformats.org/officeDocument/2006/relationships/oleObject" Target="../embeddings/oleObject105.bin"/><Relationship Id="rId4" Type="http://schemas.openxmlformats.org/officeDocument/2006/relationships/tags" Target="../tags/tag881.xml"/><Relationship Id="rId9" Type="http://schemas.openxmlformats.org/officeDocument/2006/relationships/slideMaster" Target="../slideMasters/slideMaster11.xml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tags" Target="../tags/tag893.xml"/><Relationship Id="rId3" Type="http://schemas.openxmlformats.org/officeDocument/2006/relationships/tags" Target="../tags/tag888.xml"/><Relationship Id="rId7" Type="http://schemas.openxmlformats.org/officeDocument/2006/relationships/tags" Target="../tags/tag892.xml"/><Relationship Id="rId2" Type="http://schemas.openxmlformats.org/officeDocument/2006/relationships/tags" Target="../tags/tag887.xml"/><Relationship Id="rId1" Type="http://schemas.openxmlformats.org/officeDocument/2006/relationships/tags" Target="../tags/tag886.xml"/><Relationship Id="rId6" Type="http://schemas.openxmlformats.org/officeDocument/2006/relationships/tags" Target="../tags/tag891.xml"/><Relationship Id="rId11" Type="http://schemas.openxmlformats.org/officeDocument/2006/relationships/image" Target="../media/image5.emf"/><Relationship Id="rId5" Type="http://schemas.openxmlformats.org/officeDocument/2006/relationships/tags" Target="../tags/tag890.xml"/><Relationship Id="rId10" Type="http://schemas.openxmlformats.org/officeDocument/2006/relationships/oleObject" Target="../embeddings/oleObject106.bin"/><Relationship Id="rId4" Type="http://schemas.openxmlformats.org/officeDocument/2006/relationships/tags" Target="../tags/tag889.xml"/><Relationship Id="rId9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7.bin"/><Relationship Id="rId3" Type="http://schemas.openxmlformats.org/officeDocument/2006/relationships/tags" Target="../tags/tag896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895.xml"/><Relationship Id="rId1" Type="http://schemas.openxmlformats.org/officeDocument/2006/relationships/tags" Target="../tags/tag894.xml"/><Relationship Id="rId6" Type="http://schemas.openxmlformats.org/officeDocument/2006/relationships/tags" Target="../tags/tag899.xml"/><Relationship Id="rId5" Type="http://schemas.openxmlformats.org/officeDocument/2006/relationships/tags" Target="../tags/tag898.xml"/><Relationship Id="rId4" Type="http://schemas.openxmlformats.org/officeDocument/2006/relationships/tags" Target="../tags/tag897.xml"/><Relationship Id="rId9" Type="http://schemas.openxmlformats.org/officeDocument/2006/relationships/image" Target="../media/image1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tags" Target="../tags/tag902.xml"/><Relationship Id="rId7" Type="http://schemas.openxmlformats.org/officeDocument/2006/relationships/image" Target="../media/image1.emf"/><Relationship Id="rId2" Type="http://schemas.openxmlformats.org/officeDocument/2006/relationships/tags" Target="../tags/tag901.xml"/><Relationship Id="rId1" Type="http://schemas.openxmlformats.org/officeDocument/2006/relationships/tags" Target="../tags/tag900.xml"/><Relationship Id="rId6" Type="http://schemas.openxmlformats.org/officeDocument/2006/relationships/oleObject" Target="../embeddings/oleObject108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903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05.xml"/><Relationship Id="rId1" Type="http://schemas.openxmlformats.org/officeDocument/2006/relationships/tags" Target="../tags/tag90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9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.png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.xml"/><Relationship Id="rId7" Type="http://schemas.openxmlformats.org/officeDocument/2006/relationships/oleObject" Target="../embeddings/oleObject3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6.jpeg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30.xml"/><Relationship Id="rId7" Type="http://schemas.openxmlformats.org/officeDocument/2006/relationships/oleObject" Target="../embeddings/oleObject113.bin"/><Relationship Id="rId2" Type="http://schemas.openxmlformats.org/officeDocument/2006/relationships/tags" Target="../tags/tag929.xml"/><Relationship Id="rId1" Type="http://schemas.openxmlformats.org/officeDocument/2006/relationships/tags" Target="../tags/tag928.x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932.xml"/><Relationship Id="rId4" Type="http://schemas.openxmlformats.org/officeDocument/2006/relationships/tags" Target="../tags/tag931.xml"/><Relationship Id="rId9" Type="http://schemas.openxmlformats.org/officeDocument/2006/relationships/image" Target="../media/image6.jpeg"/></Relationships>
</file>

<file path=ppt/slideLayouts/_rels/slideLayout2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35.xml"/><Relationship Id="rId7" Type="http://schemas.openxmlformats.org/officeDocument/2006/relationships/tags" Target="../tags/tag939.xml"/><Relationship Id="rId2" Type="http://schemas.openxmlformats.org/officeDocument/2006/relationships/tags" Target="../tags/tag934.xml"/><Relationship Id="rId1" Type="http://schemas.openxmlformats.org/officeDocument/2006/relationships/tags" Target="../tags/tag933.xml"/><Relationship Id="rId6" Type="http://schemas.openxmlformats.org/officeDocument/2006/relationships/tags" Target="../tags/tag938.xml"/><Relationship Id="rId5" Type="http://schemas.openxmlformats.org/officeDocument/2006/relationships/tags" Target="../tags/tag937.xml"/><Relationship Id="rId10" Type="http://schemas.openxmlformats.org/officeDocument/2006/relationships/image" Target="../media/image5.emf"/><Relationship Id="rId4" Type="http://schemas.openxmlformats.org/officeDocument/2006/relationships/tags" Target="../tags/tag936.xml"/><Relationship Id="rId9" Type="http://schemas.openxmlformats.org/officeDocument/2006/relationships/oleObject" Target="../embeddings/oleObject114.bin"/></Relationships>
</file>

<file path=ppt/slideLayouts/_rels/slideLayout29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5.bin"/><Relationship Id="rId3" Type="http://schemas.openxmlformats.org/officeDocument/2006/relationships/tags" Target="../tags/tag942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41.xml"/><Relationship Id="rId1" Type="http://schemas.openxmlformats.org/officeDocument/2006/relationships/tags" Target="../tags/tag940.xml"/><Relationship Id="rId6" Type="http://schemas.openxmlformats.org/officeDocument/2006/relationships/tags" Target="../tags/tag945.xml"/><Relationship Id="rId5" Type="http://schemas.openxmlformats.org/officeDocument/2006/relationships/tags" Target="../tags/tag944.xml"/><Relationship Id="rId10" Type="http://schemas.openxmlformats.org/officeDocument/2006/relationships/image" Target="../media/image7.png"/><Relationship Id="rId4" Type="http://schemas.openxmlformats.org/officeDocument/2006/relationships/tags" Target="../tags/tag943.xml"/><Relationship Id="rId9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10" Type="http://schemas.openxmlformats.org/officeDocument/2006/relationships/image" Target="../media/image5.emf"/><Relationship Id="rId4" Type="http://schemas.openxmlformats.org/officeDocument/2006/relationships/tags" Target="../tags/tag31.xml"/><Relationship Id="rId9" Type="http://schemas.openxmlformats.org/officeDocument/2006/relationships/oleObject" Target="../embeddings/oleObject4.bin"/></Relationships>
</file>

<file path=ppt/slideLayouts/_rels/slideLayout30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48.xml"/><Relationship Id="rId7" Type="http://schemas.openxmlformats.org/officeDocument/2006/relationships/tags" Target="../tags/tag952.xml"/><Relationship Id="rId2" Type="http://schemas.openxmlformats.org/officeDocument/2006/relationships/tags" Target="../tags/tag947.xml"/><Relationship Id="rId1" Type="http://schemas.openxmlformats.org/officeDocument/2006/relationships/tags" Target="../tags/tag946.xml"/><Relationship Id="rId6" Type="http://schemas.openxmlformats.org/officeDocument/2006/relationships/tags" Target="../tags/tag951.xml"/><Relationship Id="rId11" Type="http://schemas.openxmlformats.org/officeDocument/2006/relationships/image" Target="../media/image8.jpeg"/><Relationship Id="rId5" Type="http://schemas.openxmlformats.org/officeDocument/2006/relationships/tags" Target="../tags/tag950.xml"/><Relationship Id="rId10" Type="http://schemas.openxmlformats.org/officeDocument/2006/relationships/image" Target="../media/image1.emf"/><Relationship Id="rId4" Type="http://schemas.openxmlformats.org/officeDocument/2006/relationships/tags" Target="../tags/tag949.xml"/><Relationship Id="rId9" Type="http://schemas.openxmlformats.org/officeDocument/2006/relationships/oleObject" Target="../embeddings/oleObject116.bin"/></Relationships>
</file>

<file path=ppt/slideLayouts/_rels/slideLayout30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7.bin"/><Relationship Id="rId3" Type="http://schemas.openxmlformats.org/officeDocument/2006/relationships/tags" Target="../tags/tag955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54.xml"/><Relationship Id="rId1" Type="http://schemas.openxmlformats.org/officeDocument/2006/relationships/tags" Target="../tags/tag953.xml"/><Relationship Id="rId6" Type="http://schemas.openxmlformats.org/officeDocument/2006/relationships/tags" Target="../tags/tag958.xml"/><Relationship Id="rId5" Type="http://schemas.openxmlformats.org/officeDocument/2006/relationships/tags" Target="../tags/tag957.xml"/><Relationship Id="rId4" Type="http://schemas.openxmlformats.org/officeDocument/2006/relationships/tags" Target="../tags/tag956.xml"/><Relationship Id="rId9" Type="http://schemas.openxmlformats.org/officeDocument/2006/relationships/image" Target="../media/image1.emf"/></Relationships>
</file>

<file path=ppt/slideLayouts/_rels/slideLayout30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8.bin"/><Relationship Id="rId3" Type="http://schemas.openxmlformats.org/officeDocument/2006/relationships/tags" Target="../tags/tag961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960.xml"/><Relationship Id="rId1" Type="http://schemas.openxmlformats.org/officeDocument/2006/relationships/tags" Target="../tags/tag959.xml"/><Relationship Id="rId6" Type="http://schemas.openxmlformats.org/officeDocument/2006/relationships/tags" Target="../tags/tag964.xml"/><Relationship Id="rId5" Type="http://schemas.openxmlformats.org/officeDocument/2006/relationships/tags" Target="../tags/tag963.xml"/><Relationship Id="rId4" Type="http://schemas.openxmlformats.org/officeDocument/2006/relationships/tags" Target="../tags/tag962.xml"/><Relationship Id="rId9" Type="http://schemas.openxmlformats.org/officeDocument/2006/relationships/image" Target="../media/image1.emf"/></Relationships>
</file>

<file path=ppt/slideLayouts/_rels/slideLayout3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967.xml"/><Relationship Id="rId7" Type="http://schemas.openxmlformats.org/officeDocument/2006/relationships/tags" Target="../tags/tag971.xml"/><Relationship Id="rId2" Type="http://schemas.openxmlformats.org/officeDocument/2006/relationships/tags" Target="../tags/tag966.xml"/><Relationship Id="rId1" Type="http://schemas.openxmlformats.org/officeDocument/2006/relationships/tags" Target="../tags/tag965.xml"/><Relationship Id="rId6" Type="http://schemas.openxmlformats.org/officeDocument/2006/relationships/tags" Target="../tags/tag970.xml"/><Relationship Id="rId5" Type="http://schemas.openxmlformats.org/officeDocument/2006/relationships/tags" Target="../tags/tag969.xml"/><Relationship Id="rId10" Type="http://schemas.openxmlformats.org/officeDocument/2006/relationships/image" Target="../media/image1.emf"/><Relationship Id="rId4" Type="http://schemas.openxmlformats.org/officeDocument/2006/relationships/tags" Target="../tags/tag968.xml"/><Relationship Id="rId9" Type="http://schemas.openxmlformats.org/officeDocument/2006/relationships/oleObject" Target="../embeddings/oleObject119.bin"/></Relationships>
</file>

<file path=ppt/slideLayouts/_rels/slideLayout304.xml.rels><?xml version="1.0" encoding="UTF-8" standalone="yes"?>
<Relationships xmlns="http://schemas.openxmlformats.org/package/2006/relationships"><Relationship Id="rId8" Type="http://schemas.openxmlformats.org/officeDocument/2006/relationships/tags" Target="../tags/tag979.xml"/><Relationship Id="rId3" Type="http://schemas.openxmlformats.org/officeDocument/2006/relationships/tags" Target="../tags/tag974.xml"/><Relationship Id="rId7" Type="http://schemas.openxmlformats.org/officeDocument/2006/relationships/tags" Target="../tags/tag978.xml"/><Relationship Id="rId2" Type="http://schemas.openxmlformats.org/officeDocument/2006/relationships/tags" Target="../tags/tag973.xml"/><Relationship Id="rId1" Type="http://schemas.openxmlformats.org/officeDocument/2006/relationships/tags" Target="../tags/tag972.xml"/><Relationship Id="rId6" Type="http://schemas.openxmlformats.org/officeDocument/2006/relationships/tags" Target="../tags/tag977.xml"/><Relationship Id="rId11" Type="http://schemas.openxmlformats.org/officeDocument/2006/relationships/image" Target="../media/image5.emf"/><Relationship Id="rId5" Type="http://schemas.openxmlformats.org/officeDocument/2006/relationships/tags" Target="../tags/tag976.xml"/><Relationship Id="rId10" Type="http://schemas.openxmlformats.org/officeDocument/2006/relationships/oleObject" Target="../embeddings/oleObject120.bin"/><Relationship Id="rId4" Type="http://schemas.openxmlformats.org/officeDocument/2006/relationships/tags" Target="../tags/tag975.xml"/><Relationship Id="rId9" Type="http://schemas.openxmlformats.org/officeDocument/2006/relationships/slideMaster" Target="../slideMasters/slideMaster14.xml"/></Relationships>
</file>

<file path=ppt/slideLayouts/_rels/slideLayout305.xml.rels><?xml version="1.0" encoding="UTF-8" standalone="yes"?>
<Relationships xmlns="http://schemas.openxmlformats.org/package/2006/relationships"><Relationship Id="rId8" Type="http://schemas.openxmlformats.org/officeDocument/2006/relationships/tags" Target="../tags/tag987.xml"/><Relationship Id="rId3" Type="http://schemas.openxmlformats.org/officeDocument/2006/relationships/tags" Target="../tags/tag982.xml"/><Relationship Id="rId7" Type="http://schemas.openxmlformats.org/officeDocument/2006/relationships/tags" Target="../tags/tag986.xml"/><Relationship Id="rId2" Type="http://schemas.openxmlformats.org/officeDocument/2006/relationships/tags" Target="../tags/tag981.xml"/><Relationship Id="rId1" Type="http://schemas.openxmlformats.org/officeDocument/2006/relationships/tags" Target="../tags/tag980.xml"/><Relationship Id="rId6" Type="http://schemas.openxmlformats.org/officeDocument/2006/relationships/tags" Target="../tags/tag985.xml"/><Relationship Id="rId11" Type="http://schemas.openxmlformats.org/officeDocument/2006/relationships/image" Target="../media/image5.emf"/><Relationship Id="rId5" Type="http://schemas.openxmlformats.org/officeDocument/2006/relationships/tags" Target="../tags/tag984.xml"/><Relationship Id="rId10" Type="http://schemas.openxmlformats.org/officeDocument/2006/relationships/oleObject" Target="../embeddings/oleObject121.bin"/><Relationship Id="rId4" Type="http://schemas.openxmlformats.org/officeDocument/2006/relationships/tags" Target="../tags/tag983.xml"/><Relationship Id="rId9" Type="http://schemas.openxmlformats.org/officeDocument/2006/relationships/slideMaster" Target="../slideMasters/slideMaster14.xml"/></Relationships>
</file>

<file path=ppt/slideLayouts/_rels/slideLayout306.xml.rels><?xml version="1.0" encoding="UTF-8" standalone="yes"?>
<Relationships xmlns="http://schemas.openxmlformats.org/package/2006/relationships"><Relationship Id="rId8" Type="http://schemas.openxmlformats.org/officeDocument/2006/relationships/tags" Target="../tags/tag995.xml"/><Relationship Id="rId3" Type="http://schemas.openxmlformats.org/officeDocument/2006/relationships/tags" Target="../tags/tag990.xml"/><Relationship Id="rId7" Type="http://schemas.openxmlformats.org/officeDocument/2006/relationships/tags" Target="../tags/tag994.xml"/><Relationship Id="rId2" Type="http://schemas.openxmlformats.org/officeDocument/2006/relationships/tags" Target="../tags/tag989.xml"/><Relationship Id="rId1" Type="http://schemas.openxmlformats.org/officeDocument/2006/relationships/tags" Target="../tags/tag988.xml"/><Relationship Id="rId6" Type="http://schemas.openxmlformats.org/officeDocument/2006/relationships/tags" Target="../tags/tag993.xml"/><Relationship Id="rId11" Type="http://schemas.openxmlformats.org/officeDocument/2006/relationships/image" Target="../media/image5.emf"/><Relationship Id="rId5" Type="http://schemas.openxmlformats.org/officeDocument/2006/relationships/tags" Target="../tags/tag992.xml"/><Relationship Id="rId10" Type="http://schemas.openxmlformats.org/officeDocument/2006/relationships/oleObject" Target="../embeddings/oleObject122.bin"/><Relationship Id="rId4" Type="http://schemas.openxmlformats.org/officeDocument/2006/relationships/tags" Target="../tags/tag991.xml"/><Relationship Id="rId9" Type="http://schemas.openxmlformats.org/officeDocument/2006/relationships/slideMaster" Target="../slideMasters/slideMaster14.xml"/></Relationships>
</file>

<file path=ppt/slideLayouts/_rels/slideLayout307.xml.rels><?xml version="1.0" encoding="UTF-8" standalone="yes"?>
<Relationships xmlns="http://schemas.openxmlformats.org/package/2006/relationships"><Relationship Id="rId8" Type="http://schemas.openxmlformats.org/officeDocument/2006/relationships/tags" Target="../tags/tag1003.xml"/><Relationship Id="rId3" Type="http://schemas.openxmlformats.org/officeDocument/2006/relationships/tags" Target="../tags/tag998.xml"/><Relationship Id="rId7" Type="http://schemas.openxmlformats.org/officeDocument/2006/relationships/tags" Target="../tags/tag1002.xml"/><Relationship Id="rId2" Type="http://schemas.openxmlformats.org/officeDocument/2006/relationships/tags" Target="../tags/tag997.xml"/><Relationship Id="rId1" Type="http://schemas.openxmlformats.org/officeDocument/2006/relationships/tags" Target="../tags/tag996.xml"/><Relationship Id="rId6" Type="http://schemas.openxmlformats.org/officeDocument/2006/relationships/tags" Target="../tags/tag1001.xml"/><Relationship Id="rId11" Type="http://schemas.openxmlformats.org/officeDocument/2006/relationships/image" Target="../media/image9.emf"/><Relationship Id="rId5" Type="http://schemas.openxmlformats.org/officeDocument/2006/relationships/tags" Target="../tags/tag1000.xml"/><Relationship Id="rId10" Type="http://schemas.openxmlformats.org/officeDocument/2006/relationships/oleObject" Target="../embeddings/oleObject123.bin"/><Relationship Id="rId4" Type="http://schemas.openxmlformats.org/officeDocument/2006/relationships/tags" Target="../tags/tag999.xml"/><Relationship Id="rId9" Type="http://schemas.openxmlformats.org/officeDocument/2006/relationships/slideMaster" Target="../slideMasters/slideMaster14.xml"/></Relationships>
</file>

<file path=ppt/slideLayouts/_rels/slideLayout308.xml.rels><?xml version="1.0" encoding="UTF-8" standalone="yes"?>
<Relationships xmlns="http://schemas.openxmlformats.org/package/2006/relationships"><Relationship Id="rId8" Type="http://schemas.openxmlformats.org/officeDocument/2006/relationships/tags" Target="../tags/tag1011.xml"/><Relationship Id="rId3" Type="http://schemas.openxmlformats.org/officeDocument/2006/relationships/tags" Target="../tags/tag1006.xml"/><Relationship Id="rId7" Type="http://schemas.openxmlformats.org/officeDocument/2006/relationships/tags" Target="../tags/tag1010.xml"/><Relationship Id="rId2" Type="http://schemas.openxmlformats.org/officeDocument/2006/relationships/tags" Target="../tags/tag1005.xml"/><Relationship Id="rId1" Type="http://schemas.openxmlformats.org/officeDocument/2006/relationships/tags" Target="../tags/tag1004.xml"/><Relationship Id="rId6" Type="http://schemas.openxmlformats.org/officeDocument/2006/relationships/tags" Target="../tags/tag1009.xml"/><Relationship Id="rId11" Type="http://schemas.openxmlformats.org/officeDocument/2006/relationships/image" Target="../media/image5.emf"/><Relationship Id="rId5" Type="http://schemas.openxmlformats.org/officeDocument/2006/relationships/tags" Target="../tags/tag1008.xml"/><Relationship Id="rId10" Type="http://schemas.openxmlformats.org/officeDocument/2006/relationships/oleObject" Target="../embeddings/oleObject124.bin"/><Relationship Id="rId4" Type="http://schemas.openxmlformats.org/officeDocument/2006/relationships/tags" Target="../tags/tag1007.xml"/><Relationship Id="rId9" Type="http://schemas.openxmlformats.org/officeDocument/2006/relationships/slideMaster" Target="../slideMasters/slideMaster14.xml"/></Relationships>
</file>

<file path=ppt/slideLayouts/_rels/slideLayout30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5.bin"/><Relationship Id="rId3" Type="http://schemas.openxmlformats.org/officeDocument/2006/relationships/tags" Target="../tags/tag1014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1013.xml"/><Relationship Id="rId1" Type="http://schemas.openxmlformats.org/officeDocument/2006/relationships/tags" Target="../tags/tag1012.xml"/><Relationship Id="rId6" Type="http://schemas.openxmlformats.org/officeDocument/2006/relationships/tags" Target="../tags/tag1017.xml"/><Relationship Id="rId5" Type="http://schemas.openxmlformats.org/officeDocument/2006/relationships/tags" Target="../tags/tag1016.xml"/><Relationship Id="rId4" Type="http://schemas.openxmlformats.org/officeDocument/2006/relationships/tags" Target="../tags/tag1015.xml"/><Relationship Id="rId9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10" Type="http://schemas.openxmlformats.org/officeDocument/2006/relationships/image" Target="../media/image7.png"/><Relationship Id="rId4" Type="http://schemas.openxmlformats.org/officeDocument/2006/relationships/tags" Target="../tags/tag38.xml"/><Relationship Id="rId9" Type="http://schemas.openxmlformats.org/officeDocument/2006/relationships/image" Target="../media/image1.emf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tags" Target="../tags/tag1020.xml"/><Relationship Id="rId7" Type="http://schemas.openxmlformats.org/officeDocument/2006/relationships/image" Target="../media/image1.emf"/><Relationship Id="rId2" Type="http://schemas.openxmlformats.org/officeDocument/2006/relationships/tags" Target="../tags/tag1019.xml"/><Relationship Id="rId1" Type="http://schemas.openxmlformats.org/officeDocument/2006/relationships/tags" Target="../tags/tag1018.xml"/><Relationship Id="rId6" Type="http://schemas.openxmlformats.org/officeDocument/2006/relationships/oleObject" Target="../embeddings/oleObject126.bin"/><Relationship Id="rId5" Type="http://schemas.openxmlformats.org/officeDocument/2006/relationships/slideMaster" Target="../slideMasters/slideMaster14.xml"/><Relationship Id="rId4" Type="http://schemas.openxmlformats.org/officeDocument/2006/relationships/tags" Target="../tags/tag1021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023.xml"/><Relationship Id="rId1" Type="http://schemas.openxmlformats.org/officeDocument/2006/relationships/tags" Target="../tags/tag10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7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8.jpeg"/><Relationship Id="rId5" Type="http://schemas.openxmlformats.org/officeDocument/2006/relationships/tags" Target="../tags/tag45.xml"/><Relationship Id="rId10" Type="http://schemas.openxmlformats.org/officeDocument/2006/relationships/image" Target="../media/image1.emf"/><Relationship Id="rId4" Type="http://schemas.openxmlformats.org/officeDocument/2006/relationships/tags" Target="../tags/tag44.xml"/><Relationship Id="rId9" Type="http://schemas.openxmlformats.org/officeDocument/2006/relationships/oleObject" Target="../embeddings/oleObject6.bin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4" Type="http://schemas.openxmlformats.org/officeDocument/2006/relationships/tags" Target="../tags/tag51.xml"/><Relationship Id="rId9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56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4" Type="http://schemas.openxmlformats.org/officeDocument/2006/relationships/tags" Target="../tags/tag57.xml"/><Relationship Id="rId9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2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5" Type="http://schemas.openxmlformats.org/officeDocument/2006/relationships/tags" Target="../tags/tag64.xml"/><Relationship Id="rId10" Type="http://schemas.openxmlformats.org/officeDocument/2006/relationships/image" Target="../media/image1.emf"/><Relationship Id="rId4" Type="http://schemas.openxmlformats.org/officeDocument/2006/relationships/tags" Target="../tags/tag63.xml"/><Relationship Id="rId9" Type="http://schemas.openxmlformats.org/officeDocument/2006/relationships/oleObject" Target="../embeddings/oleObject9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tags" Target="../tags/tag72.xml"/><Relationship Id="rId11" Type="http://schemas.openxmlformats.org/officeDocument/2006/relationships/image" Target="../media/image5.emf"/><Relationship Id="rId5" Type="http://schemas.openxmlformats.org/officeDocument/2006/relationships/tags" Target="../tags/tag71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0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tags" Target="../tags/tag80.xml"/><Relationship Id="rId11" Type="http://schemas.openxmlformats.org/officeDocument/2006/relationships/image" Target="../media/image5.emf"/><Relationship Id="rId5" Type="http://schemas.openxmlformats.org/officeDocument/2006/relationships/tags" Target="../tags/tag7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78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image" Target="../media/image5.emf"/><Relationship Id="rId5" Type="http://schemas.openxmlformats.org/officeDocument/2006/relationships/tags" Target="../tags/tag87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6.xml"/><Relationship Id="rId9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6" Type="http://schemas.openxmlformats.org/officeDocument/2006/relationships/tags" Target="../tags/tag96.xml"/><Relationship Id="rId11" Type="http://schemas.openxmlformats.org/officeDocument/2006/relationships/image" Target="../media/image9.emf"/><Relationship Id="rId5" Type="http://schemas.openxmlformats.org/officeDocument/2006/relationships/tags" Target="../tags/tag95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4.xml"/><Relationship Id="rId9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106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tags" Target="../tags/tag104.xml"/><Relationship Id="rId11" Type="http://schemas.openxmlformats.org/officeDocument/2006/relationships/image" Target="../media/image5.emf"/><Relationship Id="rId5" Type="http://schemas.openxmlformats.org/officeDocument/2006/relationships/tags" Target="../tags/tag10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02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10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tags" Target="../tags/tag112.xml"/><Relationship Id="rId5" Type="http://schemas.openxmlformats.org/officeDocument/2006/relationships/tags" Target="../tags/tag111.xml"/><Relationship Id="rId4" Type="http://schemas.openxmlformats.org/officeDocument/2006/relationships/tags" Target="../tags/tag110.xml"/><Relationship Id="rId9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1.emf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6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8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80.xml"/><Relationship Id="rId4" Type="http://schemas.openxmlformats.org/officeDocument/2006/relationships/tags" Target="../tags/tag179.xml"/><Relationship Id="rId9" Type="http://schemas.openxmlformats.org/officeDocument/2006/relationships/image" Target="../media/image11.jpe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tags" Target="../tags/tag194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tags" Target="../tags/tag193.xml"/><Relationship Id="rId5" Type="http://schemas.openxmlformats.org/officeDocument/2006/relationships/tags" Target="../tags/tag187.xml"/><Relationship Id="rId15" Type="http://schemas.openxmlformats.org/officeDocument/2006/relationships/image" Target="../media/image1.emf"/><Relationship Id="rId10" Type="http://schemas.openxmlformats.org/officeDocument/2006/relationships/tags" Target="../tags/tag192.xml"/><Relationship Id="rId4" Type="http://schemas.openxmlformats.org/officeDocument/2006/relationships/tags" Target="../tags/tag186.xml"/><Relationship Id="rId9" Type="http://schemas.openxmlformats.org/officeDocument/2006/relationships/tags" Target="../tags/tag191.xml"/><Relationship Id="rId14" Type="http://schemas.openxmlformats.org/officeDocument/2006/relationships/oleObject" Target="../embeddings/oleObject22.bin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202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197.xml"/><Relationship Id="rId7" Type="http://schemas.openxmlformats.org/officeDocument/2006/relationships/tags" Target="../tags/tag201.xml"/><Relationship Id="rId12" Type="http://schemas.openxmlformats.org/officeDocument/2006/relationships/tags" Target="../tags/tag206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6" Type="http://schemas.openxmlformats.org/officeDocument/2006/relationships/tags" Target="../tags/tag200.xml"/><Relationship Id="rId11" Type="http://schemas.openxmlformats.org/officeDocument/2006/relationships/tags" Target="../tags/tag205.xml"/><Relationship Id="rId5" Type="http://schemas.openxmlformats.org/officeDocument/2006/relationships/tags" Target="../tags/tag199.xml"/><Relationship Id="rId15" Type="http://schemas.openxmlformats.org/officeDocument/2006/relationships/image" Target="../media/image1.emf"/><Relationship Id="rId10" Type="http://schemas.openxmlformats.org/officeDocument/2006/relationships/tags" Target="../tags/tag204.xml"/><Relationship Id="rId4" Type="http://schemas.openxmlformats.org/officeDocument/2006/relationships/tags" Target="../tags/tag198.xml"/><Relationship Id="rId9" Type="http://schemas.openxmlformats.org/officeDocument/2006/relationships/tags" Target="../tags/tag203.xml"/><Relationship Id="rId14" Type="http://schemas.openxmlformats.org/officeDocument/2006/relationships/oleObject" Target="../embeddings/oleObject23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tags" Target="../tags/tag218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tags" Target="../tags/tag212.xml"/><Relationship Id="rId11" Type="http://schemas.openxmlformats.org/officeDocument/2006/relationships/tags" Target="../tags/tag217.xml"/><Relationship Id="rId5" Type="http://schemas.openxmlformats.org/officeDocument/2006/relationships/tags" Target="../tags/tag211.xml"/><Relationship Id="rId15" Type="http://schemas.openxmlformats.org/officeDocument/2006/relationships/image" Target="../media/image1.emf"/><Relationship Id="rId10" Type="http://schemas.openxmlformats.org/officeDocument/2006/relationships/tags" Target="../tags/tag216.xml"/><Relationship Id="rId4" Type="http://schemas.openxmlformats.org/officeDocument/2006/relationships/tags" Target="../tags/tag210.xml"/><Relationship Id="rId9" Type="http://schemas.openxmlformats.org/officeDocument/2006/relationships/tags" Target="../tags/tag215.xml"/><Relationship Id="rId14" Type="http://schemas.openxmlformats.org/officeDocument/2006/relationships/oleObject" Target="../embeddings/oleObject24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5" Type="http://schemas.openxmlformats.org/officeDocument/2006/relationships/tags" Target="../tags/tag223.xml"/><Relationship Id="rId10" Type="http://schemas.openxmlformats.org/officeDocument/2006/relationships/tags" Target="../tags/tag228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image" Target="../media/image5.emf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237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12" Type="http://schemas.openxmlformats.org/officeDocument/2006/relationships/tags" Target="../tags/tag241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11" Type="http://schemas.openxmlformats.org/officeDocument/2006/relationships/tags" Target="../tags/tag240.xml"/><Relationship Id="rId5" Type="http://schemas.openxmlformats.org/officeDocument/2006/relationships/tags" Target="../tags/tag234.xml"/><Relationship Id="rId15" Type="http://schemas.openxmlformats.org/officeDocument/2006/relationships/image" Target="../media/image1.emf"/><Relationship Id="rId10" Type="http://schemas.openxmlformats.org/officeDocument/2006/relationships/tags" Target="../tags/tag239.xml"/><Relationship Id="rId4" Type="http://schemas.openxmlformats.org/officeDocument/2006/relationships/tags" Target="../tags/tag233.xml"/><Relationship Id="rId9" Type="http://schemas.openxmlformats.org/officeDocument/2006/relationships/tags" Target="../tags/tag238.xml"/><Relationship Id="rId14" Type="http://schemas.openxmlformats.org/officeDocument/2006/relationships/oleObject" Target="../embeddings/oleObject26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249.xml"/><Relationship Id="rId13" Type="http://schemas.openxmlformats.org/officeDocument/2006/relationships/tags" Target="../tags/tag254.xml"/><Relationship Id="rId3" Type="http://schemas.openxmlformats.org/officeDocument/2006/relationships/tags" Target="../tags/tag244.xml"/><Relationship Id="rId7" Type="http://schemas.openxmlformats.org/officeDocument/2006/relationships/tags" Target="../tags/tag248.xml"/><Relationship Id="rId12" Type="http://schemas.openxmlformats.org/officeDocument/2006/relationships/tags" Target="../tags/tag253.xml"/><Relationship Id="rId2" Type="http://schemas.openxmlformats.org/officeDocument/2006/relationships/tags" Target="../tags/tag243.xml"/><Relationship Id="rId16" Type="http://schemas.openxmlformats.org/officeDocument/2006/relationships/image" Target="../media/image1.emf"/><Relationship Id="rId1" Type="http://schemas.openxmlformats.org/officeDocument/2006/relationships/tags" Target="../tags/tag242.xml"/><Relationship Id="rId6" Type="http://schemas.openxmlformats.org/officeDocument/2006/relationships/tags" Target="../tags/tag247.xml"/><Relationship Id="rId11" Type="http://schemas.openxmlformats.org/officeDocument/2006/relationships/tags" Target="../tags/tag252.xml"/><Relationship Id="rId5" Type="http://schemas.openxmlformats.org/officeDocument/2006/relationships/tags" Target="../tags/tag246.xml"/><Relationship Id="rId15" Type="http://schemas.openxmlformats.org/officeDocument/2006/relationships/oleObject" Target="../embeddings/oleObject27.bin"/><Relationship Id="rId10" Type="http://schemas.openxmlformats.org/officeDocument/2006/relationships/tags" Target="../tags/tag251.xml"/><Relationship Id="rId4" Type="http://schemas.openxmlformats.org/officeDocument/2006/relationships/tags" Target="../tags/tag245.xml"/><Relationship Id="rId9" Type="http://schemas.openxmlformats.org/officeDocument/2006/relationships/tags" Target="../tags/tag250.xml"/><Relationship Id="rId14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oleObject" Target="../embeddings/oleObject28.bin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10" Type="http://schemas.openxmlformats.org/officeDocument/2006/relationships/tags" Target="../tags/tag264.xml"/><Relationship Id="rId19" Type="http://schemas.openxmlformats.org/officeDocument/2006/relationships/image" Target="../media/image5.emf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13" Type="http://schemas.openxmlformats.org/officeDocument/2006/relationships/tags" Target="../tags/tag283.xml"/><Relationship Id="rId18" Type="http://schemas.openxmlformats.org/officeDocument/2006/relationships/oleObject" Target="../embeddings/oleObject29.bin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12" Type="http://schemas.openxmlformats.org/officeDocument/2006/relationships/tags" Target="../tags/tag282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272.xml"/><Relationship Id="rId16" Type="http://schemas.openxmlformats.org/officeDocument/2006/relationships/tags" Target="../tags/tag286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tags" Target="../tags/tag281.xml"/><Relationship Id="rId5" Type="http://schemas.openxmlformats.org/officeDocument/2006/relationships/tags" Target="../tags/tag275.xml"/><Relationship Id="rId15" Type="http://schemas.openxmlformats.org/officeDocument/2006/relationships/tags" Target="../tags/tag285.xml"/><Relationship Id="rId10" Type="http://schemas.openxmlformats.org/officeDocument/2006/relationships/tags" Target="../tags/tag280.xml"/><Relationship Id="rId19" Type="http://schemas.openxmlformats.org/officeDocument/2006/relationships/image" Target="../media/image5.emf"/><Relationship Id="rId4" Type="http://schemas.openxmlformats.org/officeDocument/2006/relationships/tags" Target="../tags/tag274.xml"/><Relationship Id="rId9" Type="http://schemas.openxmlformats.org/officeDocument/2006/relationships/tags" Target="../tags/tag279.xml"/><Relationship Id="rId14" Type="http://schemas.openxmlformats.org/officeDocument/2006/relationships/tags" Target="../tags/tag284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13" Type="http://schemas.openxmlformats.org/officeDocument/2006/relationships/tags" Target="../tags/tag299.xml"/><Relationship Id="rId18" Type="http://schemas.openxmlformats.org/officeDocument/2006/relationships/oleObject" Target="../embeddings/oleObject30.bin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12" Type="http://schemas.openxmlformats.org/officeDocument/2006/relationships/tags" Target="../tags/tag298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288.xml"/><Relationship Id="rId16" Type="http://schemas.openxmlformats.org/officeDocument/2006/relationships/tags" Target="../tags/tag302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tags" Target="../tags/tag297.xml"/><Relationship Id="rId5" Type="http://schemas.openxmlformats.org/officeDocument/2006/relationships/tags" Target="../tags/tag291.xml"/><Relationship Id="rId15" Type="http://schemas.openxmlformats.org/officeDocument/2006/relationships/tags" Target="../tags/tag301.xml"/><Relationship Id="rId10" Type="http://schemas.openxmlformats.org/officeDocument/2006/relationships/tags" Target="../tags/tag296.xml"/><Relationship Id="rId19" Type="http://schemas.openxmlformats.org/officeDocument/2006/relationships/image" Target="../media/image5.emf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tags" Target="../tags/tag300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13" Type="http://schemas.openxmlformats.org/officeDocument/2006/relationships/tags" Target="../tags/tag315.xml"/><Relationship Id="rId18" Type="http://schemas.openxmlformats.org/officeDocument/2006/relationships/oleObject" Target="../embeddings/oleObject31.bin"/><Relationship Id="rId3" Type="http://schemas.openxmlformats.org/officeDocument/2006/relationships/tags" Target="../tags/tag305.xml"/><Relationship Id="rId7" Type="http://schemas.openxmlformats.org/officeDocument/2006/relationships/tags" Target="../tags/tag309.xml"/><Relationship Id="rId12" Type="http://schemas.openxmlformats.org/officeDocument/2006/relationships/tags" Target="../tags/tag314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304.xml"/><Relationship Id="rId16" Type="http://schemas.openxmlformats.org/officeDocument/2006/relationships/tags" Target="../tags/tag318.xml"/><Relationship Id="rId1" Type="http://schemas.openxmlformats.org/officeDocument/2006/relationships/tags" Target="../tags/tag303.xml"/><Relationship Id="rId6" Type="http://schemas.openxmlformats.org/officeDocument/2006/relationships/tags" Target="../tags/tag308.xml"/><Relationship Id="rId11" Type="http://schemas.openxmlformats.org/officeDocument/2006/relationships/tags" Target="../tags/tag313.xml"/><Relationship Id="rId5" Type="http://schemas.openxmlformats.org/officeDocument/2006/relationships/tags" Target="../tags/tag307.xml"/><Relationship Id="rId15" Type="http://schemas.openxmlformats.org/officeDocument/2006/relationships/tags" Target="../tags/tag317.xml"/><Relationship Id="rId10" Type="http://schemas.openxmlformats.org/officeDocument/2006/relationships/tags" Target="../tags/tag312.xml"/><Relationship Id="rId19" Type="http://schemas.openxmlformats.org/officeDocument/2006/relationships/image" Target="../media/image9.emf"/><Relationship Id="rId4" Type="http://schemas.openxmlformats.org/officeDocument/2006/relationships/tags" Target="../tags/tag306.xml"/><Relationship Id="rId9" Type="http://schemas.openxmlformats.org/officeDocument/2006/relationships/tags" Target="../tags/tag311.xml"/><Relationship Id="rId14" Type="http://schemas.openxmlformats.org/officeDocument/2006/relationships/tags" Target="../tags/tag316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13" Type="http://schemas.openxmlformats.org/officeDocument/2006/relationships/tags" Target="../tags/tag331.xml"/><Relationship Id="rId18" Type="http://schemas.openxmlformats.org/officeDocument/2006/relationships/oleObject" Target="../embeddings/oleObject32.bin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12" Type="http://schemas.openxmlformats.org/officeDocument/2006/relationships/tags" Target="../tags/tag330.xml"/><Relationship Id="rId17" Type="http://schemas.openxmlformats.org/officeDocument/2006/relationships/slideMaster" Target="../slideMasters/slideMaster4.xml"/><Relationship Id="rId2" Type="http://schemas.openxmlformats.org/officeDocument/2006/relationships/tags" Target="../tags/tag320.xml"/><Relationship Id="rId16" Type="http://schemas.openxmlformats.org/officeDocument/2006/relationships/tags" Target="../tags/tag334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tags" Target="../tags/tag329.xml"/><Relationship Id="rId5" Type="http://schemas.openxmlformats.org/officeDocument/2006/relationships/tags" Target="../tags/tag323.xml"/><Relationship Id="rId15" Type="http://schemas.openxmlformats.org/officeDocument/2006/relationships/tags" Target="../tags/tag333.xml"/><Relationship Id="rId10" Type="http://schemas.openxmlformats.org/officeDocument/2006/relationships/tags" Target="../tags/tag328.xml"/><Relationship Id="rId19" Type="http://schemas.openxmlformats.org/officeDocument/2006/relationships/image" Target="../media/image5.emf"/><Relationship Id="rId4" Type="http://schemas.openxmlformats.org/officeDocument/2006/relationships/tags" Target="../tags/tag322.xml"/><Relationship Id="rId9" Type="http://schemas.openxmlformats.org/officeDocument/2006/relationships/tags" Target="../tags/tag327.xml"/><Relationship Id="rId14" Type="http://schemas.openxmlformats.org/officeDocument/2006/relationships/tags" Target="../tags/tag332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13" Type="http://schemas.openxmlformats.org/officeDocument/2006/relationships/slideMaster" Target="../slideMasters/slideMaster4.xml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tags" Target="../tags/tag346.xml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tags" Target="../tags/tag340.xml"/><Relationship Id="rId11" Type="http://schemas.openxmlformats.org/officeDocument/2006/relationships/tags" Target="../tags/tag345.xml"/><Relationship Id="rId5" Type="http://schemas.openxmlformats.org/officeDocument/2006/relationships/tags" Target="../tags/tag339.xml"/><Relationship Id="rId15" Type="http://schemas.openxmlformats.org/officeDocument/2006/relationships/image" Target="../media/image1.emf"/><Relationship Id="rId10" Type="http://schemas.openxmlformats.org/officeDocument/2006/relationships/tags" Target="../tags/tag344.xml"/><Relationship Id="rId4" Type="http://schemas.openxmlformats.org/officeDocument/2006/relationships/tags" Target="../tags/tag338.xml"/><Relationship Id="rId9" Type="http://schemas.openxmlformats.org/officeDocument/2006/relationships/tags" Target="../tags/tag343.xml"/><Relationship Id="rId14" Type="http://schemas.openxmlformats.org/officeDocument/2006/relationships/oleObject" Target="../embeddings/oleObject33.bin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354.xml"/><Relationship Id="rId3" Type="http://schemas.openxmlformats.org/officeDocument/2006/relationships/tags" Target="../tags/tag349.xml"/><Relationship Id="rId7" Type="http://schemas.openxmlformats.org/officeDocument/2006/relationships/tags" Target="../tags/tag353.xml"/><Relationship Id="rId2" Type="http://schemas.openxmlformats.org/officeDocument/2006/relationships/tags" Target="../tags/tag348.xml"/><Relationship Id="rId1" Type="http://schemas.openxmlformats.org/officeDocument/2006/relationships/tags" Target="../tags/tag347.xml"/><Relationship Id="rId6" Type="http://schemas.openxmlformats.org/officeDocument/2006/relationships/tags" Target="../tags/tag352.xml"/><Relationship Id="rId11" Type="http://schemas.openxmlformats.org/officeDocument/2006/relationships/image" Target="../media/image1.emf"/><Relationship Id="rId5" Type="http://schemas.openxmlformats.org/officeDocument/2006/relationships/tags" Target="../tags/tag351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350.xml"/><Relationship Id="rId9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7" Type="http://schemas.openxmlformats.org/officeDocument/2006/relationships/image" Target="../media/image1.emf"/><Relationship Id="rId2" Type="http://schemas.openxmlformats.org/officeDocument/2006/relationships/tags" Target="../tags/tag356.xml"/><Relationship Id="rId1" Type="http://schemas.openxmlformats.org/officeDocument/2006/relationships/tags" Target="../tags/tag355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58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59.xml"/><Relationship Id="rId4" Type="http://schemas.openxmlformats.org/officeDocument/2006/relationships/image" Target="../media/image1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60.xml"/><Relationship Id="rId4" Type="http://schemas.openxmlformats.org/officeDocument/2006/relationships/image" Target="../media/image12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7.png"/><Relationship Id="rId3" Type="http://schemas.openxmlformats.org/officeDocument/2006/relationships/tags" Target="../tags/tag383.xml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16.svg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15.png"/><Relationship Id="rId5" Type="http://schemas.openxmlformats.org/officeDocument/2006/relationships/tags" Target="../tags/tag385.xml"/><Relationship Id="rId10" Type="http://schemas.openxmlformats.org/officeDocument/2006/relationships/image" Target="../media/image14.svg"/><Relationship Id="rId4" Type="http://schemas.openxmlformats.org/officeDocument/2006/relationships/tags" Target="../tags/tag384.xml"/><Relationship Id="rId9" Type="http://schemas.openxmlformats.org/officeDocument/2006/relationships/image" Target="../media/image13.png"/><Relationship Id="rId14" Type="http://schemas.openxmlformats.org/officeDocument/2006/relationships/image" Target="../media/image18.sv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388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4" Type="http://schemas.openxmlformats.org/officeDocument/2006/relationships/tags" Target="../tags/tag389.xml"/><Relationship Id="rId9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394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93.xml"/><Relationship Id="rId1" Type="http://schemas.openxmlformats.org/officeDocument/2006/relationships/tags" Target="../tags/tag392.xml"/><Relationship Id="rId6" Type="http://schemas.openxmlformats.org/officeDocument/2006/relationships/tags" Target="../tags/tag397.xml"/><Relationship Id="rId5" Type="http://schemas.openxmlformats.org/officeDocument/2006/relationships/tags" Target="../tags/tag396.xml"/><Relationship Id="rId4" Type="http://schemas.openxmlformats.org/officeDocument/2006/relationships/tags" Target="../tags/tag395.xml"/><Relationship Id="rId9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40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399.xml"/><Relationship Id="rId1" Type="http://schemas.openxmlformats.org/officeDocument/2006/relationships/tags" Target="../tags/tag398.xml"/><Relationship Id="rId6" Type="http://schemas.openxmlformats.org/officeDocument/2006/relationships/tags" Target="../tags/tag403.xml"/><Relationship Id="rId5" Type="http://schemas.openxmlformats.org/officeDocument/2006/relationships/tags" Target="../tags/tag402.xml"/><Relationship Id="rId4" Type="http://schemas.openxmlformats.org/officeDocument/2006/relationships/tags" Target="../tags/tag401.xml"/><Relationship Id="rId9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5" Type="http://schemas.openxmlformats.org/officeDocument/2006/relationships/tags" Target="../tags/tag408.xml"/><Relationship Id="rId10" Type="http://schemas.openxmlformats.org/officeDocument/2006/relationships/image" Target="../media/image5.emf"/><Relationship Id="rId4" Type="http://schemas.openxmlformats.org/officeDocument/2006/relationships/tags" Target="../tags/tag407.xml"/><Relationship Id="rId9" Type="http://schemas.openxmlformats.org/officeDocument/2006/relationships/oleObject" Target="../embeddings/oleObject43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4.bin"/><Relationship Id="rId3" Type="http://schemas.openxmlformats.org/officeDocument/2006/relationships/tags" Target="../tags/tag41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412.xml"/><Relationship Id="rId1" Type="http://schemas.openxmlformats.org/officeDocument/2006/relationships/tags" Target="../tags/tag411.xml"/><Relationship Id="rId6" Type="http://schemas.openxmlformats.org/officeDocument/2006/relationships/tags" Target="../tags/tag416.xml"/><Relationship Id="rId5" Type="http://schemas.openxmlformats.org/officeDocument/2006/relationships/tags" Target="../tags/tag415.xml"/><Relationship Id="rId4" Type="http://schemas.openxmlformats.org/officeDocument/2006/relationships/tags" Target="../tags/tag414.xml"/><Relationship Id="rId9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5" Type="http://schemas.openxmlformats.org/officeDocument/2006/relationships/tags" Target="../tags/tag421.xml"/><Relationship Id="rId10" Type="http://schemas.openxmlformats.org/officeDocument/2006/relationships/image" Target="../media/image1.emf"/><Relationship Id="rId4" Type="http://schemas.openxmlformats.org/officeDocument/2006/relationships/tags" Target="../tags/tag420.xml"/><Relationship Id="rId9" Type="http://schemas.openxmlformats.org/officeDocument/2006/relationships/oleObject" Target="../embeddings/oleObject45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3" Type="http://schemas.openxmlformats.org/officeDocument/2006/relationships/tags" Target="../tags/tag426.xml"/><Relationship Id="rId7" Type="http://schemas.openxmlformats.org/officeDocument/2006/relationships/tags" Target="../tags/tag430.xml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tags" Target="../tags/tag429.xml"/><Relationship Id="rId11" Type="http://schemas.openxmlformats.org/officeDocument/2006/relationships/image" Target="../media/image5.emf"/><Relationship Id="rId5" Type="http://schemas.openxmlformats.org/officeDocument/2006/relationships/tags" Target="../tags/tag428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427.xml"/><Relationship Id="rId9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439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11" Type="http://schemas.openxmlformats.org/officeDocument/2006/relationships/image" Target="../media/image5.emf"/><Relationship Id="rId5" Type="http://schemas.openxmlformats.org/officeDocument/2006/relationships/tags" Target="../tags/tag436.xml"/><Relationship Id="rId10" Type="http://schemas.openxmlformats.org/officeDocument/2006/relationships/oleObject" Target="../embeddings/oleObject47.bin"/><Relationship Id="rId4" Type="http://schemas.openxmlformats.org/officeDocument/2006/relationships/tags" Target="../tags/tag435.xml"/><Relationship Id="rId9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447.xml"/><Relationship Id="rId3" Type="http://schemas.openxmlformats.org/officeDocument/2006/relationships/tags" Target="../tags/tag442.xml"/><Relationship Id="rId7" Type="http://schemas.openxmlformats.org/officeDocument/2006/relationships/tags" Target="../tags/tag446.xml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tags" Target="../tags/tag445.xml"/><Relationship Id="rId11" Type="http://schemas.openxmlformats.org/officeDocument/2006/relationships/image" Target="../media/image5.emf"/><Relationship Id="rId5" Type="http://schemas.openxmlformats.org/officeDocument/2006/relationships/tags" Target="../tags/tag444.xml"/><Relationship Id="rId10" Type="http://schemas.openxmlformats.org/officeDocument/2006/relationships/oleObject" Target="../embeddings/oleObject48.bin"/><Relationship Id="rId4" Type="http://schemas.openxmlformats.org/officeDocument/2006/relationships/tags" Target="../tags/tag443.xml"/><Relationship Id="rId9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3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0" y="338400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0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6624095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3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C19F7E-C619-487E-ABD5-4295B91C1FE4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985535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7287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205055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43753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9402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7012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113560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9012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31213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50520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0538940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B80CCB-C69F-4A51-982B-FA230B06FB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4956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B80CCB-C69F-4A51-982B-FA230B06F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7B9782-6664-4B1E-817D-1A2CC913A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E8502-3A50-4572-A685-73FA933AD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9639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78437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66BC690-9394-4B63-BE02-CF7B6D6313BB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3F30C05-D54F-4C9E-A675-263BA464525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CCCB6B-12B9-4060-A677-5A5C625BE0B0}"/>
              </a:ext>
            </a:extLst>
          </p:cNvPr>
          <p:cNvGrpSpPr/>
          <p:nvPr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844101-B72F-42E3-B744-6CE9C4C3D4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CF26371-C0F1-492E-A210-933B63D69AA8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78945EC-57BB-4C05-9F60-97FC6A1E9461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6FD3792-EBE2-4A1D-810D-E6A0EEB7B0DA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A9A33F2-CDB2-48CD-B382-6B2A205B7A37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A532FA7-3B5C-41C3-AAFF-F6CDB2A8CBF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D2137AA-7BB0-4DEE-A9A7-6BE6BFE7FEEF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D17026-EFA5-447F-9C4C-3F42E6D80173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88C478C4-41DE-4D00-98C5-6C4E2C1DF830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5D29538E-4122-4085-B621-18A06A776650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B0FACCF4-DC06-4EFD-98B6-7F2553404D6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33" name="Rectangle 32" hidden="1">
            <a:extLst>
              <a:ext uri="{FF2B5EF4-FFF2-40B4-BE49-F238E27FC236}">
                <a16:creationId xmlns:a16="http://schemas.microsoft.com/office/drawing/2014/main" id="{E82EEFE3-E3BF-4162-A90B-773EC8A5A093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Tekstvak 1">
            <a:extLst>
              <a:ext uri="{FF2B5EF4-FFF2-40B4-BE49-F238E27FC236}">
                <a16:creationId xmlns:a16="http://schemas.microsoft.com/office/drawing/2014/main" id="{0FE96FB5-0CAE-4D26-AD8D-A6C412B97437}"/>
              </a:ext>
            </a:extLst>
          </p:cNvPr>
          <p:cNvSpPr txBox="1"/>
          <p:nvPr userDrawn="1"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813D6A9-1568-4BFD-9A01-83201AA895AD}"/>
              </a:ext>
            </a:extLst>
          </p:cNvPr>
          <p:cNvGrpSpPr/>
          <p:nvPr userDrawn="1"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46" name="Freeform 5">
              <a:extLst>
                <a:ext uri="{FF2B5EF4-FFF2-40B4-BE49-F238E27FC236}">
                  <a16:creationId xmlns:a16="http://schemas.microsoft.com/office/drawing/2014/main" id="{BB5E75BB-116F-4C0A-BB67-86F1D0CF4AE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6">
              <a:extLst>
                <a:ext uri="{FF2B5EF4-FFF2-40B4-BE49-F238E27FC236}">
                  <a16:creationId xmlns:a16="http://schemas.microsoft.com/office/drawing/2014/main" id="{C773366F-EC85-4480-AE0F-3291F0ABB11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 7">
              <a:extLst>
                <a:ext uri="{FF2B5EF4-FFF2-40B4-BE49-F238E27FC236}">
                  <a16:creationId xmlns:a16="http://schemas.microsoft.com/office/drawing/2014/main" id="{0EC4E543-2055-4380-AE93-FB08CB4B754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 8">
              <a:extLst>
                <a:ext uri="{FF2B5EF4-FFF2-40B4-BE49-F238E27FC236}">
                  <a16:creationId xmlns:a16="http://schemas.microsoft.com/office/drawing/2014/main" id="{47037F9E-1802-453C-B208-327B8162639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 9">
              <a:extLst>
                <a:ext uri="{FF2B5EF4-FFF2-40B4-BE49-F238E27FC236}">
                  <a16:creationId xmlns:a16="http://schemas.microsoft.com/office/drawing/2014/main" id="{0F57E2B6-A2CD-4635-8E21-3026D5C436C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 10">
              <a:extLst>
                <a:ext uri="{FF2B5EF4-FFF2-40B4-BE49-F238E27FC236}">
                  <a16:creationId xmlns:a16="http://schemas.microsoft.com/office/drawing/2014/main" id="{23112B12-6283-4980-A50F-7445F9E6A3E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 11">
              <a:extLst>
                <a:ext uri="{FF2B5EF4-FFF2-40B4-BE49-F238E27FC236}">
                  <a16:creationId xmlns:a16="http://schemas.microsoft.com/office/drawing/2014/main" id="{3753C4D2-89B6-4CB5-AE83-61591200A34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 12">
              <a:extLst>
                <a:ext uri="{FF2B5EF4-FFF2-40B4-BE49-F238E27FC236}">
                  <a16:creationId xmlns:a16="http://schemas.microsoft.com/office/drawing/2014/main" id="{E92ADB7F-9682-4662-8002-031BEFDC179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 13">
              <a:extLst>
                <a:ext uri="{FF2B5EF4-FFF2-40B4-BE49-F238E27FC236}">
                  <a16:creationId xmlns:a16="http://schemas.microsoft.com/office/drawing/2014/main" id="{9D9E727C-744B-448F-88B9-75D0E183EC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874F353B-CCD4-4C92-9253-147B22C0603A}"/>
              </a:ext>
            </a:extLst>
          </p:cNvPr>
          <p:cNvGrpSpPr/>
          <p:nvPr userDrawn="1"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67" name="Graphic 66">
              <a:extLst>
                <a:ext uri="{FF2B5EF4-FFF2-40B4-BE49-F238E27FC236}">
                  <a16:creationId xmlns:a16="http://schemas.microsoft.com/office/drawing/2014/main" id="{44F2E91E-018A-4BD7-AD07-92B2A95C9AF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35C27A3-B043-4152-83EB-1B6419327C85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63B56ED-289D-420F-B8C6-9751F2119C19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701524A-ECC0-454D-8CD8-6E2704AE7A4F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97DC572-91C7-4EED-8511-35A927B29B4C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3057F9B9-01BB-4CED-82E3-53B5D673BD8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09A05860-7FEA-40EB-82C7-E5EA0712C674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411187B-B152-4396-9864-97EC2827F934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75" name="Graphic 74">
            <a:extLst>
              <a:ext uri="{FF2B5EF4-FFF2-40B4-BE49-F238E27FC236}">
                <a16:creationId xmlns:a16="http://schemas.microsoft.com/office/drawing/2014/main" id="{C0735B9D-BCAE-4678-9C47-C45B5629DCAB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46560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92495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0702B210-7618-491E-9727-2D552C583220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42E3B82-1317-4797-BC19-889AF42B7936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8E56E172-1BD6-45AB-A9B1-8CA8017A3C18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9D199863-298D-4FEA-AB36-F3BC4CC19B6F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1496B7C6-D3FE-4713-A03F-D82C451988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150089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8156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k">
            <a:extLst>
              <a:ext uri="{FF2B5EF4-FFF2-40B4-BE49-F238E27FC236}">
                <a16:creationId xmlns:a16="http://schemas.microsoft.com/office/drawing/2014/main" id="{C18019BE-BF76-42C0-915E-A6729FD1749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92ADCE4B-6765-431F-A309-3428BDC69C2F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BE6FD076-3740-46C2-886A-3DFF7B93CC2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91441265-75B4-4AC6-AB8C-FB2F8880909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64798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15496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k">
            <a:extLst>
              <a:ext uri="{FF2B5EF4-FFF2-40B4-BE49-F238E27FC236}">
                <a16:creationId xmlns:a16="http://schemas.microsoft.com/office/drawing/2014/main" id="{F36BD833-A7F0-4D78-9F70-3456A762B5A7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63235060-0977-4929-8D38-80A1F482BE5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F4C5C0F0-3713-4A03-9E55-16E53C6272B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F7E2758-865A-428B-905C-D90178F9639F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415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3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B3875D-E1AA-4D67-A892-EA248B4A184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924214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24586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Tek">
            <a:extLst>
              <a:ext uri="{FF2B5EF4-FFF2-40B4-BE49-F238E27FC236}">
                <a16:creationId xmlns:a16="http://schemas.microsoft.com/office/drawing/2014/main" id="{59505E3B-695E-4328-A061-E1943AA35171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" hidden="1">
            <a:extLst>
              <a:ext uri="{FF2B5EF4-FFF2-40B4-BE49-F238E27FC236}">
                <a16:creationId xmlns:a16="http://schemas.microsoft.com/office/drawing/2014/main" id="{3C9028E8-45EF-4C3E-B638-9136CC1DD022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5AC46094-E58C-4975-8EAA-5173A7A7632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0E4CC77C-6ABB-414A-BF1C-33EA4B54466D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8" name="1. On-page tracker">
            <a:extLst>
              <a:ext uri="{FF2B5EF4-FFF2-40B4-BE49-F238E27FC236}">
                <a16:creationId xmlns:a16="http://schemas.microsoft.com/office/drawing/2014/main" id="{96FB5EE1-9376-4920-803D-81654F3F1403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1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3405386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26373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4D5B10B6-D5DD-4BEB-A824-603C7E6F9199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A82C4B77-AE6A-4A5C-85F5-F70F88A8F5DB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E7403144-3734-4DB9-B72D-CCAA64BF38F1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BF56F5E0-F049-4359-8941-BA0A4318DD01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05462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86829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592" imgH="591" progId="TCLayout.ActiveDocument.1">
                  <p:embed/>
                </p:oleObj>
              </mc:Choice>
              <mc:Fallback>
                <p:oleObj name="think-cell Slide" r:id="rId1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0B2052A3-BEAB-4D7D-B4BD-ABBBA40C1535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72BCB196-DF70-43D7-AABB-A49111889A5A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1CF0DE9-280A-4703-924B-58478CE79FEC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E1B939E-DDAC-4688-8C4A-333643FCD9E5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319164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418115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C675B3EE-F8A8-40C7-9989-37F18C6D4000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5CB5F8A1-A9FD-4027-98E9-9F0FF309989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73DFEEF6-E8BC-4673-910E-F343B28E7A27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F1F3AA3F-668C-4A9C-9B11-F00233DF436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832F3878-C1FA-48B5-A908-FB890B40A7CC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55228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96078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37743CB-1BDD-4819-A63F-3A79280D9E95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D20BEE3A-E4D0-4A75-AFBE-ECB3A4CB0401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78DC684C-2970-46D0-B808-BE33FB2EC185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DDC5DD3D-7F54-4630-A68F-3D3819693F5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DD75FFBB-A31F-41CC-8E9A-029A504D6043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666590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486698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C89583BE-2A0E-4E44-9447-55B51AC6F8D6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2FBB0669-BF18-4F03-BAE7-F022AC495BA7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BD5978BC-5DE1-4079-9A5C-C1C88EAEC1DA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554A536C-4112-41F0-B759-844B4DF78331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6AD2F99-7DE7-4C8D-BA84-6342F5755ADC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980617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9935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72" imgH="588" progId="TCLayout.ActiveDocument.1">
                  <p:embed/>
                </p:oleObj>
              </mc:Choice>
              <mc:Fallback>
                <p:oleObj name="think-cell Slide" r:id="rId14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BB92409B-958F-4F02-98A9-CAF00919F565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F738F7EB-2047-48D0-BD8F-8060D25432BA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C283D9E7-D4A9-4B40-8FD4-E7A58525A4A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313AB0B2-84C7-4C3C-A133-BD7101D58F60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43CF2304-9F15-4524-ACCF-E4ABD118409A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835367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89986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79FA1549-38CD-48E9-A261-6477D057D8CF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54E2E1F-6EFA-42EA-9BDF-60F1C087FDC6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Light">
            <a:extLst>
              <a:ext uri="{FF2B5EF4-FFF2-40B4-BE49-F238E27FC236}">
                <a16:creationId xmlns:a16="http://schemas.microsoft.com/office/drawing/2014/main" id="{1BD56132-CF81-4A21-906B-4EE8F3769D6E}"/>
              </a:ext>
            </a:extLst>
          </p:cNvPr>
          <p:cNvSpPr/>
          <p:nvPr userDrawn="1">
            <p:custDataLst>
              <p:tags r:id="rId10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C5711C7-6381-4265-8040-68E8BC77CC7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0F739BBE-2E53-47F7-98B0-FABB1DB9F7F9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5221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934129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311A3FD1-5664-42C9-82FB-A9AB2369BB3F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7F6A5B8B-3B99-4C76-A90A-FF2CB019EFC9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2F32993D-06B0-44AE-8837-915CF11C503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4B08EBC-C959-448B-B554-5269E018AB1A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7336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43665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k">
            <a:extLst>
              <a:ext uri="{FF2B5EF4-FFF2-40B4-BE49-F238E27FC236}">
                <a16:creationId xmlns:a16="http://schemas.microsoft.com/office/drawing/2014/main" id="{ED1E608F-C14E-4967-800E-3DBB84809147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DD8A4418-3EA1-4C38-9099-AA6F2B4A3B5A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1E447519-3DA3-47EE-900E-DC37BD74639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83194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424D9A-600E-4CE9-9CEE-C4C1581F715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1002918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51643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Tek">
            <a:extLst>
              <a:ext uri="{FF2B5EF4-FFF2-40B4-BE49-F238E27FC236}">
                <a16:creationId xmlns:a16="http://schemas.microsoft.com/office/drawing/2014/main" id="{8068B356-4189-4D35-8241-C3E528A4D3B9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2057478F-0354-4EA6-8426-083735B5AB3C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13128337-30FE-4092-9E45-01B7227F976A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96A2A946-D5DA-4F06-AEF5-51FE43C831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95D0829E-3904-414C-B8A7-963A5F607E1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CA07F31A-F48A-40BD-9369-15458032102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79D91284-3178-4401-9ADC-E7CEC5309BB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A612B8A5-D8D9-43C4-A4D6-24F055147F5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986A0C0A-64E7-4F1A-8F1C-5AC1ED725DD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75AEC95B-4EAD-411D-98CD-48ABD7DF922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6" name="Freeform 12">
              <a:extLst>
                <a:ext uri="{FF2B5EF4-FFF2-40B4-BE49-F238E27FC236}">
                  <a16:creationId xmlns:a16="http://schemas.microsoft.com/office/drawing/2014/main" id="{4CB87DEA-77E5-4E8C-B98F-994802976AB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C36F5CFF-551E-4A9F-8FEF-8AB06665865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8" name="Tek">
            <a:extLst>
              <a:ext uri="{FF2B5EF4-FFF2-40B4-BE49-F238E27FC236}">
                <a16:creationId xmlns:a16="http://schemas.microsoft.com/office/drawing/2014/main" id="{62EDAF5F-EE3C-4D49-AA0B-E17BE3DE562E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896354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246105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044147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1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4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1" y="338401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18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1F9380-9896-423F-BB02-A6021B24E5C9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349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EB0CF0-6BDE-4D39-B9BA-020F470853C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15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0704D9-F2B1-4C5E-B27F-FF45E6095610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709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99E63-A744-4292-8F09-211B0622623F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5458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80905B-E96A-4CCA-9B14-546BB52EE3D4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0"/>
            <a:ext cx="4962525" cy="3338513"/>
          </a:xfrm>
        </p:spPr>
        <p:txBody>
          <a:bodyPr/>
          <a:lstStyle>
            <a:lvl1pPr marL="359991" indent="-359991">
              <a:spcAft>
                <a:spcPts val="992"/>
              </a:spcAft>
              <a:buFont typeface="+mj-lt"/>
              <a:buAutoNum type="arabicPeriod"/>
              <a:defRPr b="1"/>
            </a:lvl1pPr>
            <a:lvl2pPr marL="719982" indent="-359991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80231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B617A-F390-4832-B7DE-4FF0CA915E51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9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9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399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09AC68-61F8-42D2-9240-BFBD93D748E2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4448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13933-7100-4347-80EA-45E0995AA4F7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9555584"/>
      </p:ext>
    </p:extLst>
  </p:cSld>
  <p:clrMapOvr>
    <a:masterClrMapping/>
  </p:clrMapOvr>
  <p:transition>
    <p:fade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015711-0CAF-47EA-96DF-DE3F15B1BE10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566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4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4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E7EA61-D4CE-49BB-A22E-BEE76D8ABAEB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921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4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23E71F-1853-4AB7-B37C-FDD0D83110C8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2749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36185C-62F9-412A-8AA7-CE374C4D6DC9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4229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E57391-3616-43C9-8DF7-C1D7D360C3C4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529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F097C2-12C2-401A-A9B8-5F0F68B20742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2550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20704D-EE02-451D-A4BC-25F63B2CEA9E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35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4FC93-4F1F-4BB9-BAB0-C91CB84B95E9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079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E87DCD-111D-4D4F-A008-E9CB11169931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4567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3E997-7BD6-4091-A49A-86201C34868C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8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EEDC73-3CE8-4F02-8E0D-504C46DCA356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1923793"/>
      </p:ext>
    </p:extLst>
  </p:cSld>
  <p:clrMapOvr>
    <a:masterClrMapping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2F7B539-756B-42B9-A87E-617C05F5EE53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277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1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1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ABA550-48A6-484B-8469-D2DC54248D6F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817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5EB229-4314-450E-9B09-40EB9AF74A14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7443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8C8EEE-76A2-4913-B8B3-1FA51F69150A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3295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5E7BBF-E690-4438-83F7-C4B742EDEDBE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351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CA31F5-D406-4CF4-9314-0EE725A05011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22101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4D5160-BD9D-4D55-B50F-8F9F2F8774A4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3019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1098000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A6DB19-AF4B-4F2E-84FE-A02B6C396815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1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947838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689F59-2BA0-4FD9-8FAE-FDBA51777F8C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947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B35C7D-2982-4FD7-9BA3-E8D61CEE6252}" type="datetime1">
              <a:rPr lang="en-GB" smtClean="0"/>
              <a:t>24/10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9139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A909A55-BAEE-4CF8-85C6-488EC5B82CAC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9575351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99976"/>
            <a:ext cx="4040188" cy="204671"/>
          </a:xfrm>
        </p:spPr>
        <p:txBody>
          <a:bodyPr anchor="b">
            <a:spAutoFit/>
          </a:bodyPr>
          <a:lstStyle>
            <a:lvl1pPr marL="0" indent="0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16526"/>
            <a:ext cx="4040188" cy="296346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299976"/>
            <a:ext cx="4041775" cy="204671"/>
          </a:xfrm>
        </p:spPr>
        <p:txBody>
          <a:bodyPr anchor="b">
            <a:spAutoFit/>
          </a:bodyPr>
          <a:lstStyle>
            <a:lvl1pPr marL="0" indent="0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1616526"/>
            <a:ext cx="4041775" cy="296346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569913" y="1511130"/>
            <a:ext cx="38304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>
            <a:off x="4742482" y="1511130"/>
            <a:ext cx="383001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Date Placeholder 1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760CAE-CA3B-4659-B5C9-CD73D8BC1C80}" type="datetime1">
              <a:rPr lang="en-GB" smtClean="0">
                <a:solidFill>
                  <a:srgbClr val="3D7EDB"/>
                </a:solidFill>
              </a:rPr>
              <a:t>24/10/2023</a:t>
            </a:fld>
            <a:endParaRPr lang="en-GB">
              <a:solidFill>
                <a:srgbClr val="3D7EDB"/>
              </a:solidFill>
            </a:endParaRPr>
          </a:p>
        </p:txBody>
      </p:sp>
      <p:sp>
        <p:nvSpPr>
          <p:cNvPr id="18" name="Footer Placeholder 1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rgbClr val="3D7EDB"/>
                </a:solidFill>
              </a:rPr>
              <a:t>Tata Steel  |  Zeremis Presentation  |  October 2023</a:t>
            </a:r>
            <a:endParaRPr lang="en-GB">
              <a:solidFill>
                <a:srgbClr val="3D7EDB"/>
              </a:solidFill>
            </a:endParaRP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1F3F7073-2DD3-4386-BBF7-0F6C7BAF276C}" type="slidenum">
              <a:rPr lang="en-GB" smtClean="0">
                <a:solidFill>
                  <a:srgbClr val="3D7EDB"/>
                </a:solidFill>
              </a:rPr>
              <a:pPr/>
              <a:t>‹nr.›</a:t>
            </a:fld>
            <a:endParaRPr lang="en-GB">
              <a:solidFill>
                <a:srgbClr val="3D7ED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071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55651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US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304699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US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US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US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8844274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3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0" y="338400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D436FB4-8A82-1C0E-D5D1-F4ABE5A0E4E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57213" y="2129928"/>
            <a:ext cx="2871658" cy="336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538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7479ED-F518-45B3-919E-35DC2438DAD2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9448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41BE4-7090-4EEE-A8B8-BCE1135FC38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25601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5C49BC3-050D-40CE-83F0-5EFE7AE7A16F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088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021AC8-DB46-4601-B446-DFEB63A30D3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492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7B8C6-5232-42D7-8650-FFE37C9D05B1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2" y="1295399"/>
            <a:ext cx="4962525" cy="3338513"/>
          </a:xfrm>
        </p:spPr>
        <p:txBody>
          <a:bodyPr/>
          <a:lstStyle>
            <a:lvl1pPr marL="360000" indent="-360000">
              <a:spcAft>
                <a:spcPts val="992"/>
              </a:spcAft>
              <a:buFont typeface="+mj-lt"/>
              <a:buAutoNum type="arabicPeriod"/>
              <a:defRPr b="1"/>
            </a:lvl1pPr>
            <a:lvl2pPr marL="720000" indent="-360000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89319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237B5-E01F-424A-88B3-82B850E965D9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8" y="141278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8" y="310561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316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ED515A-7C63-4AB5-9D3C-C3BE03E6EF21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3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36B98-F19A-49D2-93E5-768846D78AB6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6129572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4046CA-9C28-421D-9761-D2B705A1106F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415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3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FB6F45-3FC8-4FA2-9A67-0217A85CD9FE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28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3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998DA7-E152-4548-8F5E-E0627FF66FE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4293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3A1C0E6-3F56-4FED-8F9F-6C9FEAF7D209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83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30B3BCC-B606-44A9-B68D-D4C7C89F9008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4342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6388944-A512-4323-A5FD-99B18490F523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5649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43C56D-7439-4F92-A865-D2A7AF0C73D2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359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974C9E-98BA-4537-9B2B-5991D55DA085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402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01B99D-3F53-47C4-B379-B12065392ECC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2646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112F79-D8DE-452D-8CBB-EE0A04582D4F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0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340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5FE0BA7-FAF1-4D54-A148-F3C1F4D5F01E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8357197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C5EC72B0-69B8-4D32-AD25-31E50FD61241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3878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1295400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7629A5-A2B6-4766-80ED-60CFB15254DF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783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357A79-12B6-4773-86A9-A586A4CF36EC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082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D20E45-BA33-491E-A97A-50C40F927396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4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4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076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95B2E-3221-40A8-8810-F0A85CAB5A94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1551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C4D487-9173-4225-9C86-264F3D53BB5B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0101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6410CF-F651-47B6-9BCF-5FE9BA79E319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418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1097999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244E8E-10D4-4EA0-B258-F71AFFCB0771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0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221540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FDA723-32C4-463D-BA82-0F2A2F35FB8B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957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6269A-C2EB-4B9A-89EF-D26540E7D7DB}" type="datetime1">
              <a:rPr lang="en-GB" smtClean="0"/>
              <a:t>24/10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768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D55DE-4772-49EB-9AEF-1AA1C21859A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0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1064303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5241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66BC690-9394-4B63-BE02-CF7B6D6313B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3F30C05-D54F-4C9E-A675-263BA464525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CCCB6B-12B9-4060-A677-5A5C625BE0B0}"/>
              </a:ext>
            </a:extLst>
          </p:cNvPr>
          <p:cNvGrpSpPr/>
          <p:nvPr userDrawn="1"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844101-B72F-42E3-B744-6CE9C4C3D4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CF26371-C0F1-492E-A210-933B63D69AA8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78945EC-57BB-4C05-9F60-97FC6A1E9461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6FD3792-EBE2-4A1D-810D-E6A0EEB7B0DA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A9A33F2-CDB2-48CD-B382-6B2A205B7A37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A532FA7-3B5C-41C3-AAFF-F6CDB2A8CBF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D2137AA-7BB0-4DEE-A9A7-6BE6BFE7FEEF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D17026-EFA5-447F-9C4C-3F42E6D80173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88C478C4-41DE-4D00-98C5-6C4E2C1DF83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01025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906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2444181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00048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588220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527326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750013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2542663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0084945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8707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049870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99088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951248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176762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255592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017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53512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6494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0374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11A8781A-2010-458E-BF75-FF9C5ACF467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6127745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72870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98522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43059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771401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0689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613077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90121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573799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85135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1692529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2B80CCB-C69F-4A51-982B-FA230B06FB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64451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2B80CCB-C69F-4A51-982B-FA230B06FB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7B9782-6664-4B1E-817D-1A2CC913A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E8502-3A50-4572-A685-73FA933AD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0804161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3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0" y="338400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0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788953"/>
      </p:ext>
    </p:extLst>
  </p:cSld>
  <p:clrMapOvr>
    <a:masterClrMapping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CD9060-BBF4-4F88-A079-056BABE1C9EC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5284126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14EBEB-AE3E-4E5D-B19F-2458DCDFAA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8432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A14EBEB-AE3E-4E5D-B19F-2458DCDFAA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36195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4F7454-E957-402E-9728-A4460F10EB4E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C62553ED-D676-4B80-B4F6-6E134E8EE9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787400"/>
            <a:ext cx="8029575" cy="3000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79818"/>
      </p:ext>
    </p:extLst>
  </p:cSld>
  <p:clrMapOvr>
    <a:masterClrMapping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432395-1B2D-4426-BBB9-5A222FDE2B2B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075836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236B9-BD8E-4B8A-A576-A8610A5F94E5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185304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1295400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560A71-1ED5-4AE3-A3FF-C072AD829CB2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152580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3CC4DD-2F64-44FD-A30A-5AAE4026DD9E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4689009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D0B04B-0288-4437-AA36-8C8D3F3C4CF1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9909966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E7475F-A691-470D-B898-9F8E49BD28F8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2" y="1295399"/>
            <a:ext cx="4962525" cy="3338513"/>
          </a:xfrm>
        </p:spPr>
        <p:txBody>
          <a:bodyPr/>
          <a:lstStyle>
            <a:lvl1pPr marL="360000" indent="-360000">
              <a:spcAft>
                <a:spcPts val="992"/>
              </a:spcAft>
              <a:buFont typeface="+mj-lt"/>
              <a:buAutoNum type="arabicPeriod"/>
              <a:defRPr b="1"/>
            </a:lvl1pPr>
            <a:lvl2pPr marL="720000" indent="-360000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750041076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021DE1-CCD9-482A-AD7A-68653866D83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8" y="141278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8" y="310561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3595197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C3597-D55E-4AFE-9CE0-2D69614506BB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5473506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DDC03-65B8-4ECB-BA2E-F15D4D659BD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951362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3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7A29A2-FBB0-4211-945E-83AA48F705EC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0523261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3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31DF76B-6B51-450D-B9F6-873C9E675FDC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020322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12358B-B19C-4AF5-B50C-1588676C08E7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827246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A9213A-B725-4E14-98B1-429F95510C1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797968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7AC2F-4B8D-4DD5-81C5-6AFC7565685D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12204695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EF9F1D-F90F-4E00-AB9C-515A62E002C7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853375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B6F41B-6CCE-4869-BE55-B6CB7A9D8085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0281126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F93BE3-24C1-4023-9885-3E0C3F7A874A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5983112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7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B8ECD4-84AD-4653-9566-E654296BED2A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3117513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DE0E9F-7720-4204-B481-A840D66A893C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0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660520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6E918E1-518D-4A00-8A5D-3DDFB016ED27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2823229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1295400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B61A42-FB15-4D7C-BF0F-3251DB5A5B86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803109"/>
      </p:ext>
    </p:extLst>
  </p:cSld>
  <p:clrMapOvr>
    <a:masterClrMapping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5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D359B-F835-4283-B4D9-79BB08A09A16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13023778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1FD2A3-8DFC-43A4-986B-82719684C8DE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4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4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74529872"/>
      </p:ext>
    </p:extLst>
  </p:cSld>
  <p:clrMapOvr>
    <a:masterClrMapping/>
  </p:clrMapOvr>
  <p:transition>
    <p:fade/>
  </p:transition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AC3B4A-EB82-4E05-876E-6F6BB51EE20F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33500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E880D-AB1C-4AEB-800B-499CFF0F87D9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4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4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55759811"/>
      </p:ext>
    </p:extLst>
  </p:cSld>
  <p:clrMapOvr>
    <a:masterClrMapping/>
  </p:clrMapOvr>
  <p:transition>
    <p:fade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B39D43-3F98-4A39-84CD-B3D2B9A13437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46763862"/>
      </p:ext>
    </p:extLst>
  </p:cSld>
  <p:clrMapOvr>
    <a:masterClrMapping/>
  </p:clrMapOvr>
  <p:transition>
    <p:fade/>
  </p:transition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A4953A-462D-41C0-A9AC-9CB9DAE7073F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0848683"/>
      </p:ext>
    </p:extLst>
  </p:cSld>
  <p:clrMapOvr>
    <a:masterClrMapping/>
  </p:clrMapOvr>
  <p:transition>
    <p:fade/>
  </p:transition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1097999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B88749-C32F-49A7-A32C-E0DC8B1949B0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0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056165356"/>
      </p:ext>
    </p:extLst>
  </p:cSld>
  <p:clrMapOvr>
    <a:masterClrMapping/>
  </p:clrMapOvr>
  <p:transition>
    <p:fade/>
  </p:transition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CBDFFC-47BF-473C-BDA6-85E67D9025D2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2312745"/>
      </p:ext>
    </p:extLst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489D78-6AA4-4ABA-BAEA-6706297214FD}" type="datetime1">
              <a:rPr lang="en-GB" smtClean="0"/>
              <a:t>24/10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0003386"/>
      </p:ext>
    </p:extLst>
  </p:cSld>
  <p:clrMapOvr>
    <a:masterClrMapping/>
  </p:clrMapOvr>
  <p:transition>
    <p:fade/>
  </p:transition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6967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8246CD-04B9-4B42-AC25-0B1A14AC79D2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" y="0"/>
            <a:ext cx="9142541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E3ABF4C-5810-4B72-85E9-DAD9DBC82595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rgbClr val="002B45">
              <a:alpha val="5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3D7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9FCEC97B-CEA7-48B6-89E1-F341A617E3CE}"/>
              </a:ext>
            </a:extLst>
          </p:cNvPr>
          <p:cNvSpPr>
            <a:spLocks/>
          </p:cNvSpPr>
          <p:nvPr userDrawn="1"/>
        </p:nvSpPr>
        <p:spPr bwMode="gray">
          <a:xfrm>
            <a:off x="730" y="1037441"/>
            <a:ext cx="9144000" cy="693851"/>
          </a:xfrm>
          <a:custGeom>
            <a:avLst/>
            <a:gdLst>
              <a:gd name="T0" fmla="*/ 2721 w 2721"/>
              <a:gd name="T1" fmla="*/ 87 h 255"/>
              <a:gd name="T2" fmla="*/ 0 w 2721"/>
              <a:gd name="T3" fmla="*/ 255 h 255"/>
              <a:gd name="connsiteX0" fmla="*/ 10000 w 10000"/>
              <a:gd name="connsiteY0" fmla="*/ 1764 h 8352"/>
              <a:gd name="connsiteX1" fmla="*/ 9637 w 10000"/>
              <a:gd name="connsiteY1" fmla="*/ 1539 h 8352"/>
              <a:gd name="connsiteX2" fmla="*/ 0 w 10000"/>
              <a:gd name="connsiteY2" fmla="*/ 8352 h 8352"/>
              <a:gd name="connsiteX0" fmla="*/ 9637 w 9637"/>
              <a:gd name="connsiteY0" fmla="*/ 1843 h 10000"/>
              <a:gd name="connsiteX1" fmla="*/ 0 w 9637"/>
              <a:gd name="connsiteY1" fmla="*/ 10000 h 10000"/>
              <a:gd name="connsiteX0" fmla="*/ 9616 w 9616"/>
              <a:gd name="connsiteY0" fmla="*/ 2208 h 9263"/>
              <a:gd name="connsiteX1" fmla="*/ 0 w 9616"/>
              <a:gd name="connsiteY1" fmla="*/ 9263 h 9263"/>
              <a:gd name="connsiteX0" fmla="*/ 10000 w 10000"/>
              <a:gd name="connsiteY0" fmla="*/ 2002 h 9618"/>
              <a:gd name="connsiteX1" fmla="*/ 0 w 10000"/>
              <a:gd name="connsiteY1" fmla="*/ 9618 h 9618"/>
              <a:gd name="connsiteX0" fmla="*/ 10000 w 10000"/>
              <a:gd name="connsiteY0" fmla="*/ 2106 h 10024"/>
              <a:gd name="connsiteX1" fmla="*/ 0 w 10000"/>
              <a:gd name="connsiteY1" fmla="*/ 10024 h 10024"/>
              <a:gd name="connsiteX0" fmla="*/ 10000 w 10000"/>
              <a:gd name="connsiteY0" fmla="*/ 2136 h 9959"/>
              <a:gd name="connsiteX1" fmla="*/ 0 w 10000"/>
              <a:gd name="connsiteY1" fmla="*/ 9959 h 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9959">
                <a:moveTo>
                  <a:pt x="10000" y="2136"/>
                </a:moveTo>
                <a:cubicBezTo>
                  <a:pt x="6648" y="-1094"/>
                  <a:pt x="3637" y="-2148"/>
                  <a:pt x="0" y="9959"/>
                </a:cubicBezTo>
              </a:path>
            </a:pathLst>
          </a:custGeom>
          <a:noFill/>
          <a:ln w="889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4430889"/>
            <a:ext cx="28180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78568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3139788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2216888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601F716-EBE9-431C-A97E-6A30A61164B3}"/>
              </a:ext>
            </a:extLst>
          </p:cNvPr>
          <p:cNvGrpSpPr/>
          <p:nvPr userDrawn="1"/>
        </p:nvGrpSpPr>
        <p:grpSpPr>
          <a:xfrm>
            <a:off x="7884370" y="336906"/>
            <a:ext cx="688976" cy="601663"/>
            <a:chOff x="7915275" y="358775"/>
            <a:chExt cx="688976" cy="601663"/>
          </a:xfrm>
          <a:solidFill>
            <a:srgbClr val="FFFFFF"/>
          </a:solidFill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872F0CFA-46BB-4375-A9A2-9EB20BA09C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6875" y="358775"/>
              <a:ext cx="485775" cy="344488"/>
            </a:xfrm>
            <a:custGeom>
              <a:avLst/>
              <a:gdLst>
                <a:gd name="T0" fmla="*/ 183 w 183"/>
                <a:gd name="T1" fmla="*/ 43 h 129"/>
                <a:gd name="T2" fmla="*/ 174 w 183"/>
                <a:gd name="T3" fmla="*/ 30 h 129"/>
                <a:gd name="T4" fmla="*/ 139 w 183"/>
                <a:gd name="T5" fmla="*/ 8 h 129"/>
                <a:gd name="T6" fmla="*/ 92 w 183"/>
                <a:gd name="T7" fmla="*/ 0 h 129"/>
                <a:gd name="T8" fmla="*/ 44 w 183"/>
                <a:gd name="T9" fmla="*/ 8 h 129"/>
                <a:gd name="T10" fmla="*/ 9 w 183"/>
                <a:gd name="T11" fmla="*/ 30 h 129"/>
                <a:gd name="T12" fmla="*/ 0 w 183"/>
                <a:gd name="T13" fmla="*/ 43 h 129"/>
                <a:gd name="T14" fmla="*/ 80 w 183"/>
                <a:gd name="T15" fmla="*/ 32 h 129"/>
                <a:gd name="T16" fmla="*/ 86 w 183"/>
                <a:gd name="T17" fmla="*/ 35 h 129"/>
                <a:gd name="T18" fmla="*/ 87 w 183"/>
                <a:gd name="T19" fmla="*/ 47 h 129"/>
                <a:gd name="T20" fmla="*/ 86 w 183"/>
                <a:gd name="T21" fmla="*/ 129 h 129"/>
                <a:gd name="T22" fmla="*/ 92 w 183"/>
                <a:gd name="T23" fmla="*/ 129 h 129"/>
                <a:gd name="T24" fmla="*/ 97 w 183"/>
                <a:gd name="T25" fmla="*/ 129 h 129"/>
                <a:gd name="T26" fmla="*/ 96 w 183"/>
                <a:gd name="T27" fmla="*/ 47 h 129"/>
                <a:gd name="T28" fmla="*/ 97 w 183"/>
                <a:gd name="T29" fmla="*/ 35 h 129"/>
                <a:gd name="T30" fmla="*/ 103 w 183"/>
                <a:gd name="T31" fmla="*/ 32 h 129"/>
                <a:gd name="T32" fmla="*/ 183 w 183"/>
                <a:gd name="T33" fmla="*/ 4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3" h="129">
                  <a:moveTo>
                    <a:pt x="183" y="43"/>
                  </a:moveTo>
                  <a:cubicBezTo>
                    <a:pt x="181" y="39"/>
                    <a:pt x="178" y="34"/>
                    <a:pt x="174" y="30"/>
                  </a:cubicBezTo>
                  <a:cubicBezTo>
                    <a:pt x="165" y="21"/>
                    <a:pt x="153" y="13"/>
                    <a:pt x="139" y="8"/>
                  </a:cubicBezTo>
                  <a:cubicBezTo>
                    <a:pt x="125" y="3"/>
                    <a:pt x="108" y="0"/>
                    <a:pt x="92" y="0"/>
                  </a:cubicBezTo>
                  <a:cubicBezTo>
                    <a:pt x="75" y="0"/>
                    <a:pt x="58" y="3"/>
                    <a:pt x="44" y="8"/>
                  </a:cubicBezTo>
                  <a:cubicBezTo>
                    <a:pt x="30" y="13"/>
                    <a:pt x="18" y="21"/>
                    <a:pt x="9" y="30"/>
                  </a:cubicBezTo>
                  <a:cubicBezTo>
                    <a:pt x="5" y="34"/>
                    <a:pt x="2" y="39"/>
                    <a:pt x="0" y="43"/>
                  </a:cubicBezTo>
                  <a:cubicBezTo>
                    <a:pt x="18" y="39"/>
                    <a:pt x="50" y="33"/>
                    <a:pt x="80" y="32"/>
                  </a:cubicBezTo>
                  <a:cubicBezTo>
                    <a:pt x="83" y="32"/>
                    <a:pt x="85" y="33"/>
                    <a:pt x="86" y="35"/>
                  </a:cubicBezTo>
                  <a:cubicBezTo>
                    <a:pt x="87" y="37"/>
                    <a:pt x="87" y="44"/>
                    <a:pt x="87" y="47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8" y="129"/>
                    <a:pt x="90" y="129"/>
                    <a:pt x="92" y="129"/>
                  </a:cubicBezTo>
                  <a:cubicBezTo>
                    <a:pt x="93" y="129"/>
                    <a:pt x="95" y="129"/>
                    <a:pt x="97" y="12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4"/>
                    <a:pt x="96" y="37"/>
                    <a:pt x="97" y="35"/>
                  </a:cubicBezTo>
                  <a:cubicBezTo>
                    <a:pt x="98" y="33"/>
                    <a:pt x="100" y="32"/>
                    <a:pt x="103" y="32"/>
                  </a:cubicBezTo>
                  <a:cubicBezTo>
                    <a:pt x="133" y="33"/>
                    <a:pt x="165" y="39"/>
                    <a:pt x="183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6D7EFE8B-B4F6-4B7B-B9F3-12A961195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79425"/>
              <a:ext cx="225425" cy="215900"/>
            </a:xfrm>
            <a:custGeom>
              <a:avLst/>
              <a:gdLst>
                <a:gd name="T0" fmla="*/ 84 w 85"/>
                <a:gd name="T1" fmla="*/ 16 h 81"/>
                <a:gd name="T2" fmla="*/ 69 w 85"/>
                <a:gd name="T3" fmla="*/ 1 h 81"/>
                <a:gd name="T4" fmla="*/ 6 w 85"/>
                <a:gd name="T5" fmla="*/ 9 h 81"/>
                <a:gd name="T6" fmla="*/ 19 w 85"/>
                <a:gd name="T7" fmla="*/ 54 h 81"/>
                <a:gd name="T8" fmla="*/ 54 w 85"/>
                <a:gd name="T9" fmla="*/ 76 h 81"/>
                <a:gd name="T10" fmla="*/ 70 w 85"/>
                <a:gd name="T11" fmla="*/ 81 h 81"/>
                <a:gd name="T12" fmla="*/ 84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84" y="16"/>
                  </a:moveTo>
                  <a:cubicBezTo>
                    <a:pt x="85" y="6"/>
                    <a:pt x="85" y="0"/>
                    <a:pt x="69" y="1"/>
                  </a:cubicBezTo>
                  <a:cubicBezTo>
                    <a:pt x="51" y="2"/>
                    <a:pt x="33" y="3"/>
                    <a:pt x="6" y="9"/>
                  </a:cubicBezTo>
                  <a:cubicBezTo>
                    <a:pt x="5" y="12"/>
                    <a:pt x="0" y="33"/>
                    <a:pt x="19" y="54"/>
                  </a:cubicBezTo>
                  <a:cubicBezTo>
                    <a:pt x="28" y="63"/>
                    <a:pt x="40" y="71"/>
                    <a:pt x="54" y="76"/>
                  </a:cubicBezTo>
                  <a:cubicBezTo>
                    <a:pt x="59" y="78"/>
                    <a:pt x="65" y="80"/>
                    <a:pt x="70" y="81"/>
                  </a:cubicBezTo>
                  <a:cubicBezTo>
                    <a:pt x="78" y="48"/>
                    <a:pt x="82" y="27"/>
                    <a:pt x="84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BD013BA9-EC42-456B-BC34-5AFE9267C3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4213" y="479425"/>
              <a:ext cx="225425" cy="215900"/>
            </a:xfrm>
            <a:custGeom>
              <a:avLst/>
              <a:gdLst>
                <a:gd name="T0" fmla="*/ 1 w 85"/>
                <a:gd name="T1" fmla="*/ 16 h 81"/>
                <a:gd name="T2" fmla="*/ 16 w 85"/>
                <a:gd name="T3" fmla="*/ 1 h 81"/>
                <a:gd name="T4" fmla="*/ 79 w 85"/>
                <a:gd name="T5" fmla="*/ 9 h 81"/>
                <a:gd name="T6" fmla="*/ 66 w 85"/>
                <a:gd name="T7" fmla="*/ 54 h 81"/>
                <a:gd name="T8" fmla="*/ 31 w 85"/>
                <a:gd name="T9" fmla="*/ 76 h 81"/>
                <a:gd name="T10" fmla="*/ 15 w 85"/>
                <a:gd name="T11" fmla="*/ 81 h 81"/>
                <a:gd name="T12" fmla="*/ 1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1" y="16"/>
                  </a:moveTo>
                  <a:cubicBezTo>
                    <a:pt x="0" y="6"/>
                    <a:pt x="0" y="0"/>
                    <a:pt x="16" y="1"/>
                  </a:cubicBezTo>
                  <a:cubicBezTo>
                    <a:pt x="34" y="2"/>
                    <a:pt x="52" y="3"/>
                    <a:pt x="79" y="9"/>
                  </a:cubicBezTo>
                  <a:cubicBezTo>
                    <a:pt x="80" y="12"/>
                    <a:pt x="85" y="33"/>
                    <a:pt x="66" y="54"/>
                  </a:cubicBezTo>
                  <a:cubicBezTo>
                    <a:pt x="57" y="63"/>
                    <a:pt x="45" y="71"/>
                    <a:pt x="31" y="76"/>
                  </a:cubicBezTo>
                  <a:cubicBezTo>
                    <a:pt x="26" y="78"/>
                    <a:pt x="20" y="80"/>
                    <a:pt x="15" y="81"/>
                  </a:cubicBezTo>
                  <a:cubicBezTo>
                    <a:pt x="7" y="48"/>
                    <a:pt x="3" y="27"/>
                    <a:pt x="1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B8DB9EE-D993-4772-B80F-7009C9AE3E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5275" y="790575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2 h 107"/>
                <a:gd name="T6" fmla="*/ 75 w 104"/>
                <a:gd name="T7" fmla="*/ 32 h 107"/>
                <a:gd name="T8" fmla="*/ 75 w 104"/>
                <a:gd name="T9" fmla="*/ 107 h 107"/>
                <a:gd name="T10" fmla="*/ 32 w 104"/>
                <a:gd name="T11" fmla="*/ 107 h 107"/>
                <a:gd name="T12" fmla="*/ 32 w 104"/>
                <a:gd name="T13" fmla="*/ 32 h 107"/>
                <a:gd name="T14" fmla="*/ 0 w 104"/>
                <a:gd name="T15" fmla="*/ 32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AB515736-154C-4147-8DC0-A52AF97138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64500" y="790575"/>
              <a:ext cx="201613" cy="169863"/>
            </a:xfrm>
            <a:custGeom>
              <a:avLst/>
              <a:gdLst>
                <a:gd name="T0" fmla="*/ 63 w 127"/>
                <a:gd name="T1" fmla="*/ 44 h 107"/>
                <a:gd name="T2" fmla="*/ 42 w 127"/>
                <a:gd name="T3" fmla="*/ 107 h 107"/>
                <a:gd name="T4" fmla="*/ 0 w 127"/>
                <a:gd name="T5" fmla="*/ 107 h 107"/>
                <a:gd name="T6" fmla="*/ 40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DD04B9D-F97B-4479-B2E9-48C966060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0238" y="790575"/>
              <a:ext cx="168275" cy="169863"/>
            </a:xfrm>
            <a:custGeom>
              <a:avLst/>
              <a:gdLst>
                <a:gd name="T0" fmla="*/ 0 w 106"/>
                <a:gd name="T1" fmla="*/ 0 h 107"/>
                <a:gd name="T2" fmla="*/ 106 w 106"/>
                <a:gd name="T3" fmla="*/ 0 h 107"/>
                <a:gd name="T4" fmla="*/ 106 w 106"/>
                <a:gd name="T5" fmla="*/ 32 h 107"/>
                <a:gd name="T6" fmla="*/ 75 w 106"/>
                <a:gd name="T7" fmla="*/ 32 h 107"/>
                <a:gd name="T8" fmla="*/ 75 w 106"/>
                <a:gd name="T9" fmla="*/ 107 h 107"/>
                <a:gd name="T10" fmla="*/ 32 w 106"/>
                <a:gd name="T11" fmla="*/ 107 h 107"/>
                <a:gd name="T12" fmla="*/ 32 w 106"/>
                <a:gd name="T13" fmla="*/ 32 h 107"/>
                <a:gd name="T14" fmla="*/ 0 w 106"/>
                <a:gd name="T15" fmla="*/ 32 h 107"/>
                <a:gd name="T16" fmla="*/ 0 w 106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07">
                  <a:moveTo>
                    <a:pt x="0" y="0"/>
                  </a:moveTo>
                  <a:lnTo>
                    <a:pt x="106" y="0"/>
                  </a:lnTo>
                  <a:lnTo>
                    <a:pt x="106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CED9A06B-B0FD-4901-B555-82F4E0438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9463" y="790575"/>
              <a:ext cx="204788" cy="169863"/>
            </a:xfrm>
            <a:custGeom>
              <a:avLst/>
              <a:gdLst>
                <a:gd name="T0" fmla="*/ 63 w 129"/>
                <a:gd name="T1" fmla="*/ 44 h 107"/>
                <a:gd name="T2" fmla="*/ 42 w 129"/>
                <a:gd name="T3" fmla="*/ 107 h 107"/>
                <a:gd name="T4" fmla="*/ 0 w 129"/>
                <a:gd name="T5" fmla="*/ 107 h 107"/>
                <a:gd name="T6" fmla="*/ 42 w 129"/>
                <a:gd name="T7" fmla="*/ 0 h 107"/>
                <a:gd name="T8" fmla="*/ 87 w 129"/>
                <a:gd name="T9" fmla="*/ 0 h 107"/>
                <a:gd name="T10" fmla="*/ 129 w 129"/>
                <a:gd name="T11" fmla="*/ 107 h 107"/>
                <a:gd name="T12" fmla="*/ 87 w 129"/>
                <a:gd name="T13" fmla="*/ 107 h 107"/>
                <a:gd name="T14" fmla="*/ 63 w 129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7" y="0"/>
                  </a:lnTo>
                  <a:lnTo>
                    <a:pt x="129" y="107"/>
                  </a:lnTo>
                  <a:lnTo>
                    <a:pt x="87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69917" y="760768"/>
            <a:ext cx="1393825" cy="17780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FB283A24-C558-4D8E-AA50-4FE3CD35140E}"/>
              </a:ext>
            </a:extLst>
          </p:cNvPr>
          <p:cNvSpPr txBox="1"/>
          <p:nvPr userDrawn="1"/>
        </p:nvSpPr>
        <p:spPr bwMode="gray">
          <a:xfrm>
            <a:off x="57478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53120730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8709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0427916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649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91A4C2-3112-430B-80D6-9EFA992F783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816599" y="0"/>
            <a:ext cx="3327401" cy="5143500"/>
          </a:xfrm>
          <a:prstGeom prst="rect">
            <a:avLst/>
          </a:prstGeom>
        </p:spPr>
      </p:pic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D586238D-7266-4AB3-8E47-4132FF057F2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90582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6039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953A5D-55BA-4B2D-9D3A-18EB3EDBDE7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5805" y="1059359"/>
            <a:ext cx="3562346" cy="830997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rtl="0">
              <a:lnSpc>
                <a:spcPct val="90000"/>
              </a:lnSpc>
              <a:defRPr sz="300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85805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85804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009C1F9-946B-4E60-A671-E56A6ABA0CC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685805" y="762387"/>
            <a:ext cx="3562346" cy="23083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rtl="0">
              <a:defRPr lang="en-US" sz="15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BC958B0-5CA8-46DA-A380-86DC31113E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B2CC4F-CB80-4F93-B07D-DD36FF5E877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32DB0DF8-9206-4A4A-B34B-44D59FD5A75A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42630210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4811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915880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C8768-33AA-440D-8AA7-EB6031DAF014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8541944"/>
      </p:ext>
    </p:extLst>
  </p:cSld>
  <p:clrMapOvr>
    <a:masterClrMapping/>
  </p:clrMapOvr>
  <p:transition>
    <p:fade/>
  </p:transition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7484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6649117" cy="507831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3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A84CCCE4-2E21-4327-9AA6-B626C1237BD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3798429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9206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42755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963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43CC91A-3BEC-4AED-8D0E-1DB89E0C62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08C6D01-6F1D-4578-B4DD-1C90C70B7BB9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26217722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BC23171-6D66-4C85-8065-9F34B710AB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2778138D-3F76-4DDD-961B-7B56D3040CEB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417413245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925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687C95B0-3653-4C02-9A18-9DEF6EE679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E1DF87B6-2229-4F16-9FC9-FBF540724FC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5141638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3925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1FAFD0BD-B740-408E-B4F2-C47C6AB1BE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1C390E42-D43E-42F1-8153-01E65DDDBE84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58850900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8765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94F4996B-B019-47E1-8F55-9B1CE8E642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6C02B5D9-6BA1-4342-923C-0B52546F24D6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03695851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492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5CDF9B29-53CA-4A12-B955-757AB1E85EA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AF150896-0208-4F1B-94AF-1DDDC92E8AAC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74500367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105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0A8AD30F-531A-46E3-9C0A-1EB18852C4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F3B7A416-E975-465D-BCE4-08BDFAB457CE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88082351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5575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1642619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EFA1D6-B626-46F4-81D3-2B6F897B8D63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8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0438635"/>
      </p:ext>
    </p:extLst>
  </p:cSld>
  <p:clrMapOvr>
    <a:masterClrMapping/>
  </p:clrMapOvr>
  <p:transition>
    <p:fade/>
  </p:transition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1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4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1" y="338401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204968"/>
      </p:ext>
    </p:extLst>
  </p:cSld>
  <p:clrMapOvr>
    <a:masterClrMapping/>
  </p:clrMapOvr>
  <p:transition>
    <p:fad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48A914-3C72-4C29-BAEE-F96B9339651C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8739224"/>
      </p:ext>
    </p:extLst>
  </p:cSld>
  <p:clrMapOvr>
    <a:masterClrMapping/>
  </p:clrMapOvr>
  <p:transition>
    <p:fad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B5D25E-B6E6-4FC9-B024-968572B7DC7A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488411"/>
      </p:ext>
    </p:extLst>
  </p:cSld>
  <p:clrMapOvr>
    <a:masterClrMapping/>
  </p:clrMapOvr>
  <p:transition>
    <p:fad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57F288-BBC1-4E4E-86D2-74FDAB35D74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3473892"/>
      </p:ext>
    </p:extLst>
  </p:cSld>
  <p:clrMapOvr>
    <a:masterClrMapping/>
  </p:clrMapOvr>
  <p:transition>
    <p:fad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6C128B-1502-4EAF-935E-FC5C0BD0CEF6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9807003"/>
      </p:ext>
    </p:extLst>
  </p:cSld>
  <p:clrMapOvr>
    <a:masterClrMapping/>
  </p:clrMapOvr>
  <p:transition>
    <p:fad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747386-332B-44DC-B5C3-CD3F2B445ECC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0"/>
            <a:ext cx="4962525" cy="3338513"/>
          </a:xfrm>
        </p:spPr>
        <p:txBody>
          <a:bodyPr/>
          <a:lstStyle>
            <a:lvl1pPr marL="359991" indent="-359991">
              <a:spcAft>
                <a:spcPts val="992"/>
              </a:spcAft>
              <a:buFont typeface="+mj-lt"/>
              <a:buAutoNum type="arabicPeriod"/>
              <a:defRPr b="1"/>
            </a:lvl1pPr>
            <a:lvl2pPr marL="719982" indent="-359991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34345080"/>
      </p:ext>
    </p:extLst>
  </p:cSld>
  <p:clrMapOvr>
    <a:masterClrMapping/>
  </p:clrMapOvr>
  <p:transition>
    <p:fad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EEF4D3-00E5-4286-8E4E-2D5AF4CCFFA2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9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9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8925866"/>
      </p:ext>
    </p:extLst>
  </p:cSld>
  <p:clrMapOvr>
    <a:masterClrMapping/>
  </p:clrMapOvr>
  <p:transition>
    <p:fad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CA60D-BF2F-4202-B30F-86BA91732F54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637635"/>
      </p:ext>
    </p:extLst>
  </p:cSld>
  <p:clrMapOvr>
    <a:masterClrMapping/>
  </p:clrMapOvr>
  <p:transition>
    <p:fad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E94D42-3B22-44B7-9DDE-D6FE0D814C1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5996900"/>
      </p:ext>
    </p:extLst>
  </p:cSld>
  <p:clrMapOvr>
    <a:masterClrMapping/>
  </p:clrMapOvr>
  <p:transition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4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4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6F5F94-A781-4E89-BB4A-68EB221E0949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249014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EA5DBF-144C-4D58-B3DA-B5AC6C286AAE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4000" indent="-144000">
              <a:spcAft>
                <a:spcPts val="794"/>
              </a:spcAft>
              <a:defRPr sz="1000"/>
            </a:lvl3pPr>
            <a:lvl4pPr marL="288000" indent="-144000">
              <a:spcAft>
                <a:spcPts val="794"/>
              </a:spcAft>
              <a:defRPr sz="1000"/>
            </a:lvl4pPr>
            <a:lvl5pPr marL="432000" indent="-144000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1371396"/>
      </p:ext>
    </p:extLst>
  </p:cSld>
  <p:clrMapOvr>
    <a:masterClrMapping/>
  </p:clrMapOvr>
  <p:transition>
    <p:fade/>
  </p:transition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4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06BA21-F3F8-4EB8-8BAD-9F6C5D12A7EA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7503838"/>
      </p:ext>
    </p:extLst>
  </p:cSld>
  <p:clrMapOvr>
    <a:masterClrMapping/>
  </p:clrMapOvr>
  <p:transition>
    <p:fad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9E0EF3-6A6B-47C8-9058-34D7DA0125A3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0469178"/>
      </p:ext>
    </p:extLst>
  </p:cSld>
  <p:clrMapOvr>
    <a:masterClrMapping/>
  </p:clrMapOvr>
  <p:transition>
    <p:fad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9A9E74-9800-4DC2-8372-B929FA32E590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2033271"/>
      </p:ext>
    </p:extLst>
  </p:cSld>
  <p:clrMapOvr>
    <a:masterClrMapping/>
  </p:clrMapOvr>
  <p:transition>
    <p:fad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889ED2-6DF6-46DE-AEC2-32126EAAE51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56727058"/>
      </p:ext>
    </p:extLst>
  </p:cSld>
  <p:clrMapOvr>
    <a:masterClrMapping/>
  </p:clrMapOvr>
  <p:transition>
    <p:fad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B3A91B4-1176-4F05-8617-4C9E704F14D2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8969060"/>
      </p:ext>
    </p:extLst>
  </p:cSld>
  <p:clrMapOvr>
    <a:masterClrMapping/>
  </p:clrMapOvr>
  <p:transition>
    <p:fad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D9A8F5-2779-4489-913E-4956AA8D1A76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2487039"/>
      </p:ext>
    </p:extLst>
  </p:cSld>
  <p:clrMapOvr>
    <a:masterClrMapping/>
  </p:clrMapOvr>
  <p:transition>
    <p:fad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64B8218-07B6-4110-AE75-008CB18571EC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8772371"/>
      </p:ext>
    </p:extLst>
  </p:cSld>
  <p:clrMapOvr>
    <a:masterClrMapping/>
  </p:clrMapOvr>
  <p:transition>
    <p:fad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13C1BA-7CF6-4EEC-84F3-AF9D421126B0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6839698"/>
      </p:ext>
    </p:extLst>
  </p:cSld>
  <p:clrMapOvr>
    <a:masterClrMapping/>
  </p:clrMapOvr>
  <p:transition>
    <p:fad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921252B-DFC7-48FC-8CED-DEB0E7AD8F37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5238927"/>
      </p:ext>
    </p:extLst>
  </p:cSld>
  <p:clrMapOvr>
    <a:masterClrMapping/>
  </p:clrMapOvr>
  <p:transition>
    <p:fad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1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1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86BA72-AB77-4647-BDF6-377FC4BCDEB3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477004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1097999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2F220-06D5-4496-9BDA-6A08FAAB6B95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0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182853260"/>
      </p:ext>
    </p:extLst>
  </p:cSld>
  <p:clrMapOvr>
    <a:masterClrMapping/>
  </p:clrMapOvr>
  <p:transition>
    <p:fade/>
  </p:transition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B42210-F373-43A4-A5E4-A6CC7C2CF0A7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8494221"/>
      </p:ext>
    </p:extLst>
  </p:cSld>
  <p:clrMapOvr>
    <a:masterClrMapping/>
  </p:clrMapOvr>
  <p:transition>
    <p:fad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815BAF-74ED-4F9D-B31B-229683D962BE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40105886"/>
      </p:ext>
    </p:extLst>
  </p:cSld>
  <p:clrMapOvr>
    <a:masterClrMapping/>
  </p:clrMapOvr>
  <p:transition>
    <p:fad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FC9D2F-8052-4931-83A3-57488FE9753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8238516"/>
      </p:ext>
    </p:extLst>
  </p:cSld>
  <p:clrMapOvr>
    <a:masterClrMapping/>
  </p:clrMapOvr>
  <p:transition>
    <p:fad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8CB985-B72D-440D-A5DB-419014DE3B82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3106491"/>
      </p:ext>
    </p:extLst>
  </p:cSld>
  <p:clrMapOvr>
    <a:masterClrMapping/>
  </p:clrMapOvr>
  <p:transition>
    <p:fad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B5349F-3240-487E-8697-A3185D8FF7EA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6432774"/>
      </p:ext>
    </p:extLst>
  </p:cSld>
  <p:clrMapOvr>
    <a:masterClrMapping/>
  </p:clrMapOvr>
  <p:transition>
    <p:fad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1098000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3DDC16-417A-45A6-8C39-69AE1D3D41AE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1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3653988287"/>
      </p:ext>
    </p:extLst>
  </p:cSld>
  <p:clrMapOvr>
    <a:masterClrMapping/>
  </p:clrMapOvr>
  <p:transition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C9DBC-3D2E-44B0-9BBF-C3555D2DB0BD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7664493"/>
      </p:ext>
    </p:extLst>
  </p:cSld>
  <p:clrMapOvr>
    <a:masterClrMapping/>
  </p:clrMapOvr>
  <p:transition>
    <p:fad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6A7F4-72B8-4578-A96C-5395CE2609C4}" type="datetime1">
              <a:rPr lang="en-GB" smtClean="0"/>
              <a:t>24/10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1109390"/>
      </p:ext>
    </p:extLst>
  </p:cSld>
  <p:clrMapOvr>
    <a:masterClrMapping/>
  </p:clrMapOvr>
  <p:transition>
    <p:fad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>
            <a:extLst>
              <a:ext uri="{FF2B5EF4-FFF2-40B4-BE49-F238E27FC236}">
                <a16:creationId xmlns:a16="http://schemas.microsoft.com/office/drawing/2014/main" id="{5828374B-F700-4F16-AE6C-7FE67B74010C}"/>
              </a:ext>
            </a:extLst>
          </p:cNvPr>
          <p:cNvSpPr txBox="1">
            <a:spLocks noGrp="1"/>
          </p:cNvSpPr>
          <p:nvPr>
            <p:ph type="sldNum" sz="quarter" idx="8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fld id="{21C7C452-9FC9-493E-8F38-E39A235F5F90}" type="slidenum"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1756592"/>
      </p:ext>
    </p:extLst>
  </p:cSld>
  <p:clrMapOvr>
    <a:masterClrMapping/>
  </p:clrMapOvr>
  <p:transition spd="slow">
    <p:push dir="u"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2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5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2" y="338402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61019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ACCCE5-DEC0-4550-ABBD-4D6561437EEC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4959456"/>
      </p:ext>
    </p:extLst>
  </p:cSld>
  <p:clrMapOvr>
    <a:masterClrMapping/>
  </p:clrMapOvr>
  <p:transition>
    <p:fade/>
  </p:transition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90C5B1-A427-446D-A119-134132492FA5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1889389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5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A3FF1A-7A36-4813-B0B4-924A2FD5BF7E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5" y="1295402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2178399"/>
      </p:ext>
    </p:extLst>
  </p:cSld>
  <p:clrMapOvr>
    <a:masterClrMapping/>
  </p:clrMapOvr>
  <p:transition>
    <p:fad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594810-0355-4BD2-A8CA-A58D73515A48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5" y="1295402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5496225"/>
      </p:ext>
    </p:extLst>
  </p:cSld>
  <p:clrMapOvr>
    <a:masterClrMapping/>
  </p:clrMapOvr>
  <p:transition>
    <p:fad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CEC20-8572-4D4C-9231-B1A87CEB0449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2596363"/>
      </p:ext>
    </p:extLst>
  </p:cSld>
  <p:clrMapOvr>
    <a:masterClrMapping/>
  </p:clrMapOvr>
  <p:transition>
    <p:fad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3B96B1-9B4F-4AF7-B949-F6231447E5D7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1"/>
            <a:ext cx="4962525" cy="3338513"/>
          </a:xfrm>
        </p:spPr>
        <p:txBody>
          <a:bodyPr/>
          <a:lstStyle>
            <a:lvl1pPr marL="359982" indent="-359982">
              <a:spcAft>
                <a:spcPts val="992"/>
              </a:spcAft>
              <a:buFont typeface="+mj-lt"/>
              <a:buAutoNum type="arabicPeriod"/>
              <a:defRPr b="1"/>
            </a:lvl1pPr>
            <a:lvl2pPr marL="719964" indent="-359982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01625406"/>
      </p:ext>
    </p:extLst>
  </p:cSld>
  <p:clrMapOvr>
    <a:masterClrMapping/>
  </p:clrMapOvr>
  <p:transition>
    <p:fad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32A6D7-EDA4-4EBA-B131-C34953C2C8EE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80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5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80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60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614506"/>
      </p:ext>
    </p:extLst>
  </p:cSld>
  <p:clrMapOvr>
    <a:masterClrMapping/>
  </p:clrMapOvr>
  <p:transition>
    <p:fad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1780F-42D0-47AA-A832-36494A2CA06D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3418481"/>
      </p:ext>
    </p:extLst>
  </p:cSld>
  <p:clrMapOvr>
    <a:masterClrMapping/>
  </p:clrMapOvr>
  <p:transition>
    <p:fad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1DD91D-55ED-4A03-B0A3-F827A2767AA0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63728580"/>
      </p:ext>
    </p:extLst>
  </p:cSld>
  <p:clrMapOvr>
    <a:masterClrMapping/>
  </p:clrMapOvr>
  <p:transition>
    <p:fad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5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5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5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1B4B096-8947-428A-8E50-C1935A17CE9A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9854098"/>
      </p:ext>
    </p:extLst>
  </p:cSld>
  <p:clrMapOvr>
    <a:masterClrMapping/>
  </p:clrMapOvr>
  <p:transition>
    <p:fad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5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E5CEF40-9B15-40CC-810A-7DC006AD0F52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478398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BE85A2-52BC-44C5-8E0A-D7F588BF95CB}" type="datetime1">
              <a:rPr lang="en-GB" smtClean="0"/>
              <a:t>24/10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193091"/>
      </p:ext>
    </p:extLst>
  </p:cSld>
  <p:clrMapOvr>
    <a:masterClrMapping/>
  </p:clrMapOvr>
  <p:transition>
    <p:fade/>
  </p:transition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C500D7-2DBF-4472-A4E5-793891FDC06B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2123003"/>
      </p:ext>
    </p:extLst>
  </p:cSld>
  <p:clrMapOvr>
    <a:masterClrMapping/>
  </p:clrMapOvr>
  <p:transition>
    <p:fad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90AA54A-36FC-47B1-A093-33215E9BC71E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172992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74DC1D9-7141-4C4C-B519-31D9CA2DBF2E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0927952"/>
      </p:ext>
    </p:extLst>
  </p:cSld>
  <p:clrMapOvr>
    <a:masterClrMapping/>
  </p:clrMapOvr>
  <p:transition>
    <p:fad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0DFA94F-ACE2-4228-A393-06D9DB2DB013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3132185"/>
      </p:ext>
    </p:extLst>
  </p:cSld>
  <p:clrMapOvr>
    <a:masterClrMapping/>
  </p:clrMapOvr>
  <p:transition>
    <p:fad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9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2581C4-F35C-445F-BE2D-4C1D5B2F4F11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716899"/>
      </p:ext>
    </p:extLst>
  </p:cSld>
  <p:clrMapOvr>
    <a:masterClrMapping/>
  </p:clrMapOvr>
  <p:transition>
    <p:fad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9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5BCB7BE-E3C3-47A2-BA73-11E5AF5BFBA5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1230872"/>
      </p:ext>
    </p:extLst>
  </p:cSld>
  <p:clrMapOvr>
    <a:masterClrMapping/>
  </p:clrMapOvr>
  <p:transition>
    <p:fad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58544-9BE3-4902-B3FB-FEBDE04787DE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5198755"/>
      </p:ext>
    </p:extLst>
  </p:cSld>
  <p:clrMapOvr>
    <a:masterClrMapping/>
  </p:clrMapOvr>
  <p:transition>
    <p:fad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2A6DB25-563B-4B07-85F3-09E3CEF027FF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3421881"/>
      </p:ext>
    </p:extLst>
  </p:cSld>
  <p:clrMapOvr>
    <a:masterClrMapping/>
  </p:clrMapOvr>
  <p:transition>
    <p:fad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2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2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75CB5A-5EAD-41AF-9058-B12ADA64915E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112567"/>
      </p:ext>
    </p:extLst>
  </p:cSld>
  <p:clrMapOvr>
    <a:masterClrMapping/>
  </p:clrMapOvr>
  <p:transition>
    <p:fad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EA85C0-E9DD-435A-966B-EC83789BC796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5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735561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6967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8246CD-04B9-4B42-AC25-0B1A14AC79D2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" y="0"/>
            <a:ext cx="9142541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E3ABF4C-5810-4B72-85E9-DAD9DBC82595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rgbClr val="002B45">
              <a:alpha val="5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3D7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9FCEC97B-CEA7-48B6-89E1-F341A617E3CE}"/>
              </a:ext>
            </a:extLst>
          </p:cNvPr>
          <p:cNvSpPr>
            <a:spLocks/>
          </p:cNvSpPr>
          <p:nvPr userDrawn="1"/>
        </p:nvSpPr>
        <p:spPr bwMode="gray">
          <a:xfrm>
            <a:off x="730" y="1037441"/>
            <a:ext cx="9144000" cy="693851"/>
          </a:xfrm>
          <a:custGeom>
            <a:avLst/>
            <a:gdLst>
              <a:gd name="T0" fmla="*/ 2721 w 2721"/>
              <a:gd name="T1" fmla="*/ 87 h 255"/>
              <a:gd name="T2" fmla="*/ 0 w 2721"/>
              <a:gd name="T3" fmla="*/ 255 h 255"/>
              <a:gd name="connsiteX0" fmla="*/ 10000 w 10000"/>
              <a:gd name="connsiteY0" fmla="*/ 1764 h 8352"/>
              <a:gd name="connsiteX1" fmla="*/ 9637 w 10000"/>
              <a:gd name="connsiteY1" fmla="*/ 1539 h 8352"/>
              <a:gd name="connsiteX2" fmla="*/ 0 w 10000"/>
              <a:gd name="connsiteY2" fmla="*/ 8352 h 8352"/>
              <a:gd name="connsiteX0" fmla="*/ 9637 w 9637"/>
              <a:gd name="connsiteY0" fmla="*/ 1843 h 10000"/>
              <a:gd name="connsiteX1" fmla="*/ 0 w 9637"/>
              <a:gd name="connsiteY1" fmla="*/ 10000 h 10000"/>
              <a:gd name="connsiteX0" fmla="*/ 9616 w 9616"/>
              <a:gd name="connsiteY0" fmla="*/ 2208 h 9263"/>
              <a:gd name="connsiteX1" fmla="*/ 0 w 9616"/>
              <a:gd name="connsiteY1" fmla="*/ 9263 h 9263"/>
              <a:gd name="connsiteX0" fmla="*/ 10000 w 10000"/>
              <a:gd name="connsiteY0" fmla="*/ 2002 h 9618"/>
              <a:gd name="connsiteX1" fmla="*/ 0 w 10000"/>
              <a:gd name="connsiteY1" fmla="*/ 9618 h 9618"/>
              <a:gd name="connsiteX0" fmla="*/ 10000 w 10000"/>
              <a:gd name="connsiteY0" fmla="*/ 2106 h 10024"/>
              <a:gd name="connsiteX1" fmla="*/ 0 w 10000"/>
              <a:gd name="connsiteY1" fmla="*/ 10024 h 10024"/>
              <a:gd name="connsiteX0" fmla="*/ 10000 w 10000"/>
              <a:gd name="connsiteY0" fmla="*/ 2136 h 9959"/>
              <a:gd name="connsiteX1" fmla="*/ 0 w 10000"/>
              <a:gd name="connsiteY1" fmla="*/ 9959 h 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9959">
                <a:moveTo>
                  <a:pt x="10000" y="2136"/>
                </a:moveTo>
                <a:cubicBezTo>
                  <a:pt x="6648" y="-1094"/>
                  <a:pt x="3637" y="-2148"/>
                  <a:pt x="0" y="9959"/>
                </a:cubicBezTo>
              </a:path>
            </a:pathLst>
          </a:custGeom>
          <a:noFill/>
          <a:ln w="889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4430889"/>
            <a:ext cx="28180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78568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3139788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2216888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601F716-EBE9-431C-A97E-6A30A61164B3}"/>
              </a:ext>
            </a:extLst>
          </p:cNvPr>
          <p:cNvGrpSpPr/>
          <p:nvPr userDrawn="1"/>
        </p:nvGrpSpPr>
        <p:grpSpPr>
          <a:xfrm>
            <a:off x="7884370" y="336906"/>
            <a:ext cx="688976" cy="601663"/>
            <a:chOff x="7915275" y="358775"/>
            <a:chExt cx="688976" cy="601663"/>
          </a:xfrm>
          <a:solidFill>
            <a:srgbClr val="FFFFFF"/>
          </a:solidFill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872F0CFA-46BB-4375-A9A2-9EB20BA09C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6875" y="358775"/>
              <a:ext cx="485775" cy="344488"/>
            </a:xfrm>
            <a:custGeom>
              <a:avLst/>
              <a:gdLst>
                <a:gd name="T0" fmla="*/ 183 w 183"/>
                <a:gd name="T1" fmla="*/ 43 h 129"/>
                <a:gd name="T2" fmla="*/ 174 w 183"/>
                <a:gd name="T3" fmla="*/ 30 h 129"/>
                <a:gd name="T4" fmla="*/ 139 w 183"/>
                <a:gd name="T5" fmla="*/ 8 h 129"/>
                <a:gd name="T6" fmla="*/ 92 w 183"/>
                <a:gd name="T7" fmla="*/ 0 h 129"/>
                <a:gd name="T8" fmla="*/ 44 w 183"/>
                <a:gd name="T9" fmla="*/ 8 h 129"/>
                <a:gd name="T10" fmla="*/ 9 w 183"/>
                <a:gd name="T11" fmla="*/ 30 h 129"/>
                <a:gd name="T12" fmla="*/ 0 w 183"/>
                <a:gd name="T13" fmla="*/ 43 h 129"/>
                <a:gd name="T14" fmla="*/ 80 w 183"/>
                <a:gd name="T15" fmla="*/ 32 h 129"/>
                <a:gd name="T16" fmla="*/ 86 w 183"/>
                <a:gd name="T17" fmla="*/ 35 h 129"/>
                <a:gd name="T18" fmla="*/ 87 w 183"/>
                <a:gd name="T19" fmla="*/ 47 h 129"/>
                <a:gd name="T20" fmla="*/ 86 w 183"/>
                <a:gd name="T21" fmla="*/ 129 h 129"/>
                <a:gd name="T22" fmla="*/ 92 w 183"/>
                <a:gd name="T23" fmla="*/ 129 h 129"/>
                <a:gd name="T24" fmla="*/ 97 w 183"/>
                <a:gd name="T25" fmla="*/ 129 h 129"/>
                <a:gd name="T26" fmla="*/ 96 w 183"/>
                <a:gd name="T27" fmla="*/ 47 h 129"/>
                <a:gd name="T28" fmla="*/ 97 w 183"/>
                <a:gd name="T29" fmla="*/ 35 h 129"/>
                <a:gd name="T30" fmla="*/ 103 w 183"/>
                <a:gd name="T31" fmla="*/ 32 h 129"/>
                <a:gd name="T32" fmla="*/ 183 w 183"/>
                <a:gd name="T33" fmla="*/ 4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3" h="129">
                  <a:moveTo>
                    <a:pt x="183" y="43"/>
                  </a:moveTo>
                  <a:cubicBezTo>
                    <a:pt x="181" y="39"/>
                    <a:pt x="178" y="34"/>
                    <a:pt x="174" y="30"/>
                  </a:cubicBezTo>
                  <a:cubicBezTo>
                    <a:pt x="165" y="21"/>
                    <a:pt x="153" y="13"/>
                    <a:pt x="139" y="8"/>
                  </a:cubicBezTo>
                  <a:cubicBezTo>
                    <a:pt x="125" y="3"/>
                    <a:pt x="108" y="0"/>
                    <a:pt x="92" y="0"/>
                  </a:cubicBezTo>
                  <a:cubicBezTo>
                    <a:pt x="75" y="0"/>
                    <a:pt x="58" y="3"/>
                    <a:pt x="44" y="8"/>
                  </a:cubicBezTo>
                  <a:cubicBezTo>
                    <a:pt x="30" y="13"/>
                    <a:pt x="18" y="21"/>
                    <a:pt x="9" y="30"/>
                  </a:cubicBezTo>
                  <a:cubicBezTo>
                    <a:pt x="5" y="34"/>
                    <a:pt x="2" y="39"/>
                    <a:pt x="0" y="43"/>
                  </a:cubicBezTo>
                  <a:cubicBezTo>
                    <a:pt x="18" y="39"/>
                    <a:pt x="50" y="33"/>
                    <a:pt x="80" y="32"/>
                  </a:cubicBezTo>
                  <a:cubicBezTo>
                    <a:pt x="83" y="32"/>
                    <a:pt x="85" y="33"/>
                    <a:pt x="86" y="35"/>
                  </a:cubicBezTo>
                  <a:cubicBezTo>
                    <a:pt x="87" y="37"/>
                    <a:pt x="87" y="44"/>
                    <a:pt x="87" y="47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8" y="129"/>
                    <a:pt x="90" y="129"/>
                    <a:pt x="92" y="129"/>
                  </a:cubicBezTo>
                  <a:cubicBezTo>
                    <a:pt x="93" y="129"/>
                    <a:pt x="95" y="129"/>
                    <a:pt x="97" y="12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4"/>
                    <a:pt x="96" y="37"/>
                    <a:pt x="97" y="35"/>
                  </a:cubicBezTo>
                  <a:cubicBezTo>
                    <a:pt x="98" y="33"/>
                    <a:pt x="100" y="32"/>
                    <a:pt x="103" y="32"/>
                  </a:cubicBezTo>
                  <a:cubicBezTo>
                    <a:pt x="133" y="33"/>
                    <a:pt x="165" y="39"/>
                    <a:pt x="183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6D7EFE8B-B4F6-4B7B-B9F3-12A961195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79425"/>
              <a:ext cx="225425" cy="215900"/>
            </a:xfrm>
            <a:custGeom>
              <a:avLst/>
              <a:gdLst>
                <a:gd name="T0" fmla="*/ 84 w 85"/>
                <a:gd name="T1" fmla="*/ 16 h 81"/>
                <a:gd name="T2" fmla="*/ 69 w 85"/>
                <a:gd name="T3" fmla="*/ 1 h 81"/>
                <a:gd name="T4" fmla="*/ 6 w 85"/>
                <a:gd name="T5" fmla="*/ 9 h 81"/>
                <a:gd name="T6" fmla="*/ 19 w 85"/>
                <a:gd name="T7" fmla="*/ 54 h 81"/>
                <a:gd name="T8" fmla="*/ 54 w 85"/>
                <a:gd name="T9" fmla="*/ 76 h 81"/>
                <a:gd name="T10" fmla="*/ 70 w 85"/>
                <a:gd name="T11" fmla="*/ 81 h 81"/>
                <a:gd name="T12" fmla="*/ 84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84" y="16"/>
                  </a:moveTo>
                  <a:cubicBezTo>
                    <a:pt x="85" y="6"/>
                    <a:pt x="85" y="0"/>
                    <a:pt x="69" y="1"/>
                  </a:cubicBezTo>
                  <a:cubicBezTo>
                    <a:pt x="51" y="2"/>
                    <a:pt x="33" y="3"/>
                    <a:pt x="6" y="9"/>
                  </a:cubicBezTo>
                  <a:cubicBezTo>
                    <a:pt x="5" y="12"/>
                    <a:pt x="0" y="33"/>
                    <a:pt x="19" y="54"/>
                  </a:cubicBezTo>
                  <a:cubicBezTo>
                    <a:pt x="28" y="63"/>
                    <a:pt x="40" y="71"/>
                    <a:pt x="54" y="76"/>
                  </a:cubicBezTo>
                  <a:cubicBezTo>
                    <a:pt x="59" y="78"/>
                    <a:pt x="65" y="80"/>
                    <a:pt x="70" y="81"/>
                  </a:cubicBezTo>
                  <a:cubicBezTo>
                    <a:pt x="78" y="48"/>
                    <a:pt x="82" y="27"/>
                    <a:pt x="84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BD013BA9-EC42-456B-BC34-5AFE9267C3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4213" y="479425"/>
              <a:ext cx="225425" cy="215900"/>
            </a:xfrm>
            <a:custGeom>
              <a:avLst/>
              <a:gdLst>
                <a:gd name="T0" fmla="*/ 1 w 85"/>
                <a:gd name="T1" fmla="*/ 16 h 81"/>
                <a:gd name="T2" fmla="*/ 16 w 85"/>
                <a:gd name="T3" fmla="*/ 1 h 81"/>
                <a:gd name="T4" fmla="*/ 79 w 85"/>
                <a:gd name="T5" fmla="*/ 9 h 81"/>
                <a:gd name="T6" fmla="*/ 66 w 85"/>
                <a:gd name="T7" fmla="*/ 54 h 81"/>
                <a:gd name="T8" fmla="*/ 31 w 85"/>
                <a:gd name="T9" fmla="*/ 76 h 81"/>
                <a:gd name="T10" fmla="*/ 15 w 85"/>
                <a:gd name="T11" fmla="*/ 81 h 81"/>
                <a:gd name="T12" fmla="*/ 1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1" y="16"/>
                  </a:moveTo>
                  <a:cubicBezTo>
                    <a:pt x="0" y="6"/>
                    <a:pt x="0" y="0"/>
                    <a:pt x="16" y="1"/>
                  </a:cubicBezTo>
                  <a:cubicBezTo>
                    <a:pt x="34" y="2"/>
                    <a:pt x="52" y="3"/>
                    <a:pt x="79" y="9"/>
                  </a:cubicBezTo>
                  <a:cubicBezTo>
                    <a:pt x="80" y="12"/>
                    <a:pt x="85" y="33"/>
                    <a:pt x="66" y="54"/>
                  </a:cubicBezTo>
                  <a:cubicBezTo>
                    <a:pt x="57" y="63"/>
                    <a:pt x="45" y="71"/>
                    <a:pt x="31" y="76"/>
                  </a:cubicBezTo>
                  <a:cubicBezTo>
                    <a:pt x="26" y="78"/>
                    <a:pt x="20" y="80"/>
                    <a:pt x="15" y="81"/>
                  </a:cubicBezTo>
                  <a:cubicBezTo>
                    <a:pt x="7" y="48"/>
                    <a:pt x="3" y="27"/>
                    <a:pt x="1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B8DB9EE-D993-4772-B80F-7009C9AE3E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5275" y="790575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2 h 107"/>
                <a:gd name="T6" fmla="*/ 75 w 104"/>
                <a:gd name="T7" fmla="*/ 32 h 107"/>
                <a:gd name="T8" fmla="*/ 75 w 104"/>
                <a:gd name="T9" fmla="*/ 107 h 107"/>
                <a:gd name="T10" fmla="*/ 32 w 104"/>
                <a:gd name="T11" fmla="*/ 107 h 107"/>
                <a:gd name="T12" fmla="*/ 32 w 104"/>
                <a:gd name="T13" fmla="*/ 32 h 107"/>
                <a:gd name="T14" fmla="*/ 0 w 104"/>
                <a:gd name="T15" fmla="*/ 32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AB515736-154C-4147-8DC0-A52AF97138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64500" y="790575"/>
              <a:ext cx="201613" cy="169863"/>
            </a:xfrm>
            <a:custGeom>
              <a:avLst/>
              <a:gdLst>
                <a:gd name="T0" fmla="*/ 63 w 127"/>
                <a:gd name="T1" fmla="*/ 44 h 107"/>
                <a:gd name="T2" fmla="*/ 42 w 127"/>
                <a:gd name="T3" fmla="*/ 107 h 107"/>
                <a:gd name="T4" fmla="*/ 0 w 127"/>
                <a:gd name="T5" fmla="*/ 107 h 107"/>
                <a:gd name="T6" fmla="*/ 40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DD04B9D-F97B-4479-B2E9-48C966060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0238" y="790575"/>
              <a:ext cx="168275" cy="169863"/>
            </a:xfrm>
            <a:custGeom>
              <a:avLst/>
              <a:gdLst>
                <a:gd name="T0" fmla="*/ 0 w 106"/>
                <a:gd name="T1" fmla="*/ 0 h 107"/>
                <a:gd name="T2" fmla="*/ 106 w 106"/>
                <a:gd name="T3" fmla="*/ 0 h 107"/>
                <a:gd name="T4" fmla="*/ 106 w 106"/>
                <a:gd name="T5" fmla="*/ 32 h 107"/>
                <a:gd name="T6" fmla="*/ 75 w 106"/>
                <a:gd name="T7" fmla="*/ 32 h 107"/>
                <a:gd name="T8" fmla="*/ 75 w 106"/>
                <a:gd name="T9" fmla="*/ 107 h 107"/>
                <a:gd name="T10" fmla="*/ 32 w 106"/>
                <a:gd name="T11" fmla="*/ 107 h 107"/>
                <a:gd name="T12" fmla="*/ 32 w 106"/>
                <a:gd name="T13" fmla="*/ 32 h 107"/>
                <a:gd name="T14" fmla="*/ 0 w 106"/>
                <a:gd name="T15" fmla="*/ 32 h 107"/>
                <a:gd name="T16" fmla="*/ 0 w 106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07">
                  <a:moveTo>
                    <a:pt x="0" y="0"/>
                  </a:moveTo>
                  <a:lnTo>
                    <a:pt x="106" y="0"/>
                  </a:lnTo>
                  <a:lnTo>
                    <a:pt x="106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CED9A06B-B0FD-4901-B555-82F4E0438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9463" y="790575"/>
              <a:ext cx="204788" cy="169863"/>
            </a:xfrm>
            <a:custGeom>
              <a:avLst/>
              <a:gdLst>
                <a:gd name="T0" fmla="*/ 63 w 129"/>
                <a:gd name="T1" fmla="*/ 44 h 107"/>
                <a:gd name="T2" fmla="*/ 42 w 129"/>
                <a:gd name="T3" fmla="*/ 107 h 107"/>
                <a:gd name="T4" fmla="*/ 0 w 129"/>
                <a:gd name="T5" fmla="*/ 107 h 107"/>
                <a:gd name="T6" fmla="*/ 42 w 129"/>
                <a:gd name="T7" fmla="*/ 0 h 107"/>
                <a:gd name="T8" fmla="*/ 87 w 129"/>
                <a:gd name="T9" fmla="*/ 0 h 107"/>
                <a:gd name="T10" fmla="*/ 129 w 129"/>
                <a:gd name="T11" fmla="*/ 107 h 107"/>
                <a:gd name="T12" fmla="*/ 87 w 129"/>
                <a:gd name="T13" fmla="*/ 107 h 107"/>
                <a:gd name="T14" fmla="*/ 63 w 129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7" y="0"/>
                  </a:lnTo>
                  <a:lnTo>
                    <a:pt x="129" y="107"/>
                  </a:lnTo>
                  <a:lnTo>
                    <a:pt x="87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69917" y="760768"/>
            <a:ext cx="1393825" cy="17780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FB283A24-C558-4D8E-AA50-4FE3CD35140E}"/>
              </a:ext>
            </a:extLst>
          </p:cNvPr>
          <p:cNvSpPr txBox="1"/>
          <p:nvPr userDrawn="1"/>
        </p:nvSpPr>
        <p:spPr bwMode="gray">
          <a:xfrm>
            <a:off x="57478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18730091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1438A1-F900-4DAE-876B-1F6BE27CDC55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12220395"/>
      </p:ext>
    </p:extLst>
  </p:cSld>
  <p:clrMapOvr>
    <a:masterClrMapping/>
  </p:clrMapOvr>
  <p:transition>
    <p:fad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91942-4438-4D0D-ABF1-F45E1C862EEC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03259116"/>
      </p:ext>
    </p:extLst>
  </p:cSld>
  <p:clrMapOvr>
    <a:masterClrMapping/>
  </p:clrMapOvr>
  <p:transition>
    <p:fad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1B42FE-CFAA-4585-BD2B-A51DBA94804A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78" indent="0">
              <a:buNone/>
              <a:defRPr sz="2800"/>
            </a:lvl2pPr>
            <a:lvl3pPr marL="914355" indent="0">
              <a:buNone/>
              <a:defRPr sz="2400"/>
            </a:lvl3pPr>
            <a:lvl4pPr marL="1371532" indent="0">
              <a:buNone/>
              <a:defRPr sz="2000"/>
            </a:lvl4pPr>
            <a:lvl5pPr marL="1828709" indent="0">
              <a:buNone/>
              <a:defRPr sz="2000"/>
            </a:lvl5pPr>
            <a:lvl6pPr marL="2285886" indent="0">
              <a:buNone/>
              <a:defRPr sz="2000"/>
            </a:lvl6pPr>
            <a:lvl7pPr marL="2743064" indent="0">
              <a:buNone/>
              <a:defRPr sz="2000"/>
            </a:lvl7pPr>
            <a:lvl8pPr marL="3200240" indent="0">
              <a:buNone/>
              <a:defRPr sz="2000"/>
            </a:lvl8pPr>
            <a:lvl9pPr marL="3657418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5396892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3" indent="-143993">
              <a:spcAft>
                <a:spcPts val="794"/>
              </a:spcAft>
              <a:defRPr sz="1000"/>
            </a:lvl3pPr>
            <a:lvl4pPr marL="287986" indent="-143993">
              <a:spcAft>
                <a:spcPts val="794"/>
              </a:spcAft>
              <a:defRPr sz="1000"/>
            </a:lvl4pPr>
            <a:lvl5pPr marL="431979" indent="-143993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EAD44D-D8C4-4037-9A41-F966954BE681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3" indent="-143993">
              <a:spcAft>
                <a:spcPts val="794"/>
              </a:spcAft>
              <a:defRPr sz="1000"/>
            </a:lvl3pPr>
            <a:lvl4pPr marL="287986" indent="-143993">
              <a:spcAft>
                <a:spcPts val="794"/>
              </a:spcAft>
              <a:defRPr sz="1000"/>
            </a:lvl4pPr>
            <a:lvl5pPr marL="431979" indent="-143993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3" indent="-143993">
              <a:spcAft>
                <a:spcPts val="794"/>
              </a:spcAft>
              <a:defRPr sz="1000"/>
            </a:lvl3pPr>
            <a:lvl4pPr marL="287986" indent="-143993">
              <a:spcAft>
                <a:spcPts val="794"/>
              </a:spcAft>
              <a:defRPr sz="1000"/>
            </a:lvl4pPr>
            <a:lvl5pPr marL="431979" indent="-143993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75923146"/>
      </p:ext>
    </p:extLst>
  </p:cSld>
  <p:clrMapOvr>
    <a:masterClrMapping/>
  </p:clrMapOvr>
  <p:transition>
    <p:fad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5" y="1098001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9FE020-B0F7-4E32-8526-B9167C3BC5CA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2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4267381733"/>
      </p:ext>
    </p:extLst>
  </p:cSld>
  <p:clrMapOvr>
    <a:masterClrMapping/>
  </p:clrMapOvr>
  <p:transition>
    <p:fad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78606-F99D-4CE5-BF6E-F4130243A586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120814"/>
      </p:ext>
    </p:extLst>
  </p:cSld>
  <p:clrMapOvr>
    <a:masterClrMapping/>
  </p:clrMapOvr>
  <p:transition>
    <p:fad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A37585-D45E-42A8-AF49-F383E31A7BB4}" type="datetime1">
              <a:rPr lang="en-GB" smtClean="0"/>
              <a:t>24/10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79819"/>
      </p:ext>
    </p:extLst>
  </p:cSld>
  <p:clrMapOvr>
    <a:masterClrMapping/>
  </p:clrMapOvr>
  <p:transition>
    <p:fade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69674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F8246CD-04B9-4B42-AC25-0B1A14AC79D2}"/>
              </a:ext>
            </a:extLst>
          </p:cNvPr>
          <p:cNvPicPr>
            <a:picLocks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" y="0"/>
            <a:ext cx="9142541" cy="5143500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DE3ABF4C-5810-4B72-85E9-DAD9DBC82595}"/>
              </a:ext>
            </a:extLst>
          </p:cNvPr>
          <p:cNvSpPr>
            <a:spLocks/>
          </p:cNvSpPr>
          <p:nvPr userDrawn="1"/>
        </p:nvSpPr>
        <p:spPr bwMode="ltGray">
          <a:xfrm>
            <a:off x="0" y="0"/>
            <a:ext cx="9144000" cy="5143500"/>
          </a:xfrm>
          <a:prstGeom prst="rect">
            <a:avLst/>
          </a:prstGeom>
          <a:solidFill>
            <a:srgbClr val="002B45">
              <a:alpha val="50000"/>
            </a:srgbClr>
          </a:solidFill>
          <a:ln w="6350" cap="sq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>
              <a:ln>
                <a:noFill/>
              </a:ln>
              <a:solidFill>
                <a:srgbClr val="3D7EDB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Freeform 5">
            <a:extLst>
              <a:ext uri="{FF2B5EF4-FFF2-40B4-BE49-F238E27FC236}">
                <a16:creationId xmlns:a16="http://schemas.microsoft.com/office/drawing/2014/main" id="{9FCEC97B-CEA7-48B6-89E1-F341A617E3CE}"/>
              </a:ext>
            </a:extLst>
          </p:cNvPr>
          <p:cNvSpPr>
            <a:spLocks/>
          </p:cNvSpPr>
          <p:nvPr userDrawn="1"/>
        </p:nvSpPr>
        <p:spPr bwMode="gray">
          <a:xfrm>
            <a:off x="730" y="1037441"/>
            <a:ext cx="9144000" cy="693851"/>
          </a:xfrm>
          <a:custGeom>
            <a:avLst/>
            <a:gdLst>
              <a:gd name="T0" fmla="*/ 2721 w 2721"/>
              <a:gd name="T1" fmla="*/ 87 h 255"/>
              <a:gd name="T2" fmla="*/ 0 w 2721"/>
              <a:gd name="T3" fmla="*/ 255 h 255"/>
              <a:gd name="connsiteX0" fmla="*/ 10000 w 10000"/>
              <a:gd name="connsiteY0" fmla="*/ 1764 h 8352"/>
              <a:gd name="connsiteX1" fmla="*/ 9637 w 10000"/>
              <a:gd name="connsiteY1" fmla="*/ 1539 h 8352"/>
              <a:gd name="connsiteX2" fmla="*/ 0 w 10000"/>
              <a:gd name="connsiteY2" fmla="*/ 8352 h 8352"/>
              <a:gd name="connsiteX0" fmla="*/ 9637 w 9637"/>
              <a:gd name="connsiteY0" fmla="*/ 1843 h 10000"/>
              <a:gd name="connsiteX1" fmla="*/ 0 w 9637"/>
              <a:gd name="connsiteY1" fmla="*/ 10000 h 10000"/>
              <a:gd name="connsiteX0" fmla="*/ 9616 w 9616"/>
              <a:gd name="connsiteY0" fmla="*/ 2208 h 9263"/>
              <a:gd name="connsiteX1" fmla="*/ 0 w 9616"/>
              <a:gd name="connsiteY1" fmla="*/ 9263 h 9263"/>
              <a:gd name="connsiteX0" fmla="*/ 10000 w 10000"/>
              <a:gd name="connsiteY0" fmla="*/ 2002 h 9618"/>
              <a:gd name="connsiteX1" fmla="*/ 0 w 10000"/>
              <a:gd name="connsiteY1" fmla="*/ 9618 h 9618"/>
              <a:gd name="connsiteX0" fmla="*/ 10000 w 10000"/>
              <a:gd name="connsiteY0" fmla="*/ 2106 h 10024"/>
              <a:gd name="connsiteX1" fmla="*/ 0 w 10000"/>
              <a:gd name="connsiteY1" fmla="*/ 10024 h 10024"/>
              <a:gd name="connsiteX0" fmla="*/ 10000 w 10000"/>
              <a:gd name="connsiteY0" fmla="*/ 2136 h 9959"/>
              <a:gd name="connsiteX1" fmla="*/ 0 w 10000"/>
              <a:gd name="connsiteY1" fmla="*/ 9959 h 9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00" h="9959">
                <a:moveTo>
                  <a:pt x="10000" y="2136"/>
                </a:moveTo>
                <a:cubicBezTo>
                  <a:pt x="6648" y="-1094"/>
                  <a:pt x="3637" y="-2148"/>
                  <a:pt x="0" y="9959"/>
                </a:cubicBezTo>
              </a:path>
            </a:pathLst>
          </a:custGeom>
          <a:noFill/>
          <a:ln w="8890" cap="flat">
            <a:solidFill>
              <a:srgbClr val="FFFFF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4430889"/>
            <a:ext cx="2818079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785688"/>
            <a:ext cx="729509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3139788"/>
            <a:ext cx="7295096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2216888"/>
            <a:ext cx="7295096" cy="50783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601F716-EBE9-431C-A97E-6A30A61164B3}"/>
              </a:ext>
            </a:extLst>
          </p:cNvPr>
          <p:cNvGrpSpPr/>
          <p:nvPr userDrawn="1"/>
        </p:nvGrpSpPr>
        <p:grpSpPr>
          <a:xfrm>
            <a:off x="7884370" y="336906"/>
            <a:ext cx="688976" cy="601663"/>
            <a:chOff x="7915275" y="358775"/>
            <a:chExt cx="688976" cy="601663"/>
          </a:xfrm>
          <a:solidFill>
            <a:srgbClr val="FFFFFF"/>
          </a:solidFill>
        </p:grpSpPr>
        <p:sp>
          <p:nvSpPr>
            <p:cNvPr id="27" name="Freeform 15">
              <a:extLst>
                <a:ext uri="{FF2B5EF4-FFF2-40B4-BE49-F238E27FC236}">
                  <a16:creationId xmlns:a16="http://schemas.microsoft.com/office/drawing/2014/main" id="{872F0CFA-46BB-4375-A9A2-9EB20BA09C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16875" y="358775"/>
              <a:ext cx="485775" cy="344488"/>
            </a:xfrm>
            <a:custGeom>
              <a:avLst/>
              <a:gdLst>
                <a:gd name="T0" fmla="*/ 183 w 183"/>
                <a:gd name="T1" fmla="*/ 43 h 129"/>
                <a:gd name="T2" fmla="*/ 174 w 183"/>
                <a:gd name="T3" fmla="*/ 30 h 129"/>
                <a:gd name="T4" fmla="*/ 139 w 183"/>
                <a:gd name="T5" fmla="*/ 8 h 129"/>
                <a:gd name="T6" fmla="*/ 92 w 183"/>
                <a:gd name="T7" fmla="*/ 0 h 129"/>
                <a:gd name="T8" fmla="*/ 44 w 183"/>
                <a:gd name="T9" fmla="*/ 8 h 129"/>
                <a:gd name="T10" fmla="*/ 9 w 183"/>
                <a:gd name="T11" fmla="*/ 30 h 129"/>
                <a:gd name="T12" fmla="*/ 0 w 183"/>
                <a:gd name="T13" fmla="*/ 43 h 129"/>
                <a:gd name="T14" fmla="*/ 80 w 183"/>
                <a:gd name="T15" fmla="*/ 32 h 129"/>
                <a:gd name="T16" fmla="*/ 86 w 183"/>
                <a:gd name="T17" fmla="*/ 35 h 129"/>
                <a:gd name="T18" fmla="*/ 87 w 183"/>
                <a:gd name="T19" fmla="*/ 47 h 129"/>
                <a:gd name="T20" fmla="*/ 86 w 183"/>
                <a:gd name="T21" fmla="*/ 129 h 129"/>
                <a:gd name="T22" fmla="*/ 92 w 183"/>
                <a:gd name="T23" fmla="*/ 129 h 129"/>
                <a:gd name="T24" fmla="*/ 97 w 183"/>
                <a:gd name="T25" fmla="*/ 129 h 129"/>
                <a:gd name="T26" fmla="*/ 96 w 183"/>
                <a:gd name="T27" fmla="*/ 47 h 129"/>
                <a:gd name="T28" fmla="*/ 97 w 183"/>
                <a:gd name="T29" fmla="*/ 35 h 129"/>
                <a:gd name="T30" fmla="*/ 103 w 183"/>
                <a:gd name="T31" fmla="*/ 32 h 129"/>
                <a:gd name="T32" fmla="*/ 183 w 183"/>
                <a:gd name="T33" fmla="*/ 4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3" h="129">
                  <a:moveTo>
                    <a:pt x="183" y="43"/>
                  </a:moveTo>
                  <a:cubicBezTo>
                    <a:pt x="181" y="39"/>
                    <a:pt x="178" y="34"/>
                    <a:pt x="174" y="30"/>
                  </a:cubicBezTo>
                  <a:cubicBezTo>
                    <a:pt x="165" y="21"/>
                    <a:pt x="153" y="13"/>
                    <a:pt x="139" y="8"/>
                  </a:cubicBezTo>
                  <a:cubicBezTo>
                    <a:pt x="125" y="3"/>
                    <a:pt x="108" y="0"/>
                    <a:pt x="92" y="0"/>
                  </a:cubicBezTo>
                  <a:cubicBezTo>
                    <a:pt x="75" y="0"/>
                    <a:pt x="58" y="3"/>
                    <a:pt x="44" y="8"/>
                  </a:cubicBezTo>
                  <a:cubicBezTo>
                    <a:pt x="30" y="13"/>
                    <a:pt x="18" y="21"/>
                    <a:pt x="9" y="30"/>
                  </a:cubicBezTo>
                  <a:cubicBezTo>
                    <a:pt x="5" y="34"/>
                    <a:pt x="2" y="39"/>
                    <a:pt x="0" y="43"/>
                  </a:cubicBezTo>
                  <a:cubicBezTo>
                    <a:pt x="18" y="39"/>
                    <a:pt x="50" y="33"/>
                    <a:pt x="80" y="32"/>
                  </a:cubicBezTo>
                  <a:cubicBezTo>
                    <a:pt x="83" y="32"/>
                    <a:pt x="85" y="33"/>
                    <a:pt x="86" y="35"/>
                  </a:cubicBezTo>
                  <a:cubicBezTo>
                    <a:pt x="87" y="37"/>
                    <a:pt x="87" y="44"/>
                    <a:pt x="87" y="47"/>
                  </a:cubicBezTo>
                  <a:cubicBezTo>
                    <a:pt x="86" y="129"/>
                    <a:pt x="86" y="129"/>
                    <a:pt x="86" y="129"/>
                  </a:cubicBezTo>
                  <a:cubicBezTo>
                    <a:pt x="88" y="129"/>
                    <a:pt x="90" y="129"/>
                    <a:pt x="92" y="129"/>
                  </a:cubicBezTo>
                  <a:cubicBezTo>
                    <a:pt x="93" y="129"/>
                    <a:pt x="95" y="129"/>
                    <a:pt x="97" y="12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4"/>
                    <a:pt x="96" y="37"/>
                    <a:pt x="97" y="35"/>
                  </a:cubicBezTo>
                  <a:cubicBezTo>
                    <a:pt x="98" y="33"/>
                    <a:pt x="100" y="32"/>
                    <a:pt x="103" y="32"/>
                  </a:cubicBezTo>
                  <a:cubicBezTo>
                    <a:pt x="133" y="33"/>
                    <a:pt x="165" y="39"/>
                    <a:pt x="183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6D7EFE8B-B4F6-4B7B-B9F3-12A9611956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89888" y="479425"/>
              <a:ext cx="225425" cy="215900"/>
            </a:xfrm>
            <a:custGeom>
              <a:avLst/>
              <a:gdLst>
                <a:gd name="T0" fmla="*/ 84 w 85"/>
                <a:gd name="T1" fmla="*/ 16 h 81"/>
                <a:gd name="T2" fmla="*/ 69 w 85"/>
                <a:gd name="T3" fmla="*/ 1 h 81"/>
                <a:gd name="T4" fmla="*/ 6 w 85"/>
                <a:gd name="T5" fmla="*/ 9 h 81"/>
                <a:gd name="T6" fmla="*/ 19 w 85"/>
                <a:gd name="T7" fmla="*/ 54 h 81"/>
                <a:gd name="T8" fmla="*/ 54 w 85"/>
                <a:gd name="T9" fmla="*/ 76 h 81"/>
                <a:gd name="T10" fmla="*/ 70 w 85"/>
                <a:gd name="T11" fmla="*/ 81 h 81"/>
                <a:gd name="T12" fmla="*/ 84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84" y="16"/>
                  </a:moveTo>
                  <a:cubicBezTo>
                    <a:pt x="85" y="6"/>
                    <a:pt x="85" y="0"/>
                    <a:pt x="69" y="1"/>
                  </a:cubicBezTo>
                  <a:cubicBezTo>
                    <a:pt x="51" y="2"/>
                    <a:pt x="33" y="3"/>
                    <a:pt x="6" y="9"/>
                  </a:cubicBezTo>
                  <a:cubicBezTo>
                    <a:pt x="5" y="12"/>
                    <a:pt x="0" y="33"/>
                    <a:pt x="19" y="54"/>
                  </a:cubicBezTo>
                  <a:cubicBezTo>
                    <a:pt x="28" y="63"/>
                    <a:pt x="40" y="71"/>
                    <a:pt x="54" y="76"/>
                  </a:cubicBezTo>
                  <a:cubicBezTo>
                    <a:pt x="59" y="78"/>
                    <a:pt x="65" y="80"/>
                    <a:pt x="70" y="81"/>
                  </a:cubicBezTo>
                  <a:cubicBezTo>
                    <a:pt x="78" y="48"/>
                    <a:pt x="82" y="27"/>
                    <a:pt x="84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BD013BA9-EC42-456B-BC34-5AFE9267C3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04213" y="479425"/>
              <a:ext cx="225425" cy="215900"/>
            </a:xfrm>
            <a:custGeom>
              <a:avLst/>
              <a:gdLst>
                <a:gd name="T0" fmla="*/ 1 w 85"/>
                <a:gd name="T1" fmla="*/ 16 h 81"/>
                <a:gd name="T2" fmla="*/ 16 w 85"/>
                <a:gd name="T3" fmla="*/ 1 h 81"/>
                <a:gd name="T4" fmla="*/ 79 w 85"/>
                <a:gd name="T5" fmla="*/ 9 h 81"/>
                <a:gd name="T6" fmla="*/ 66 w 85"/>
                <a:gd name="T7" fmla="*/ 54 h 81"/>
                <a:gd name="T8" fmla="*/ 31 w 85"/>
                <a:gd name="T9" fmla="*/ 76 h 81"/>
                <a:gd name="T10" fmla="*/ 15 w 85"/>
                <a:gd name="T11" fmla="*/ 81 h 81"/>
                <a:gd name="T12" fmla="*/ 1 w 85"/>
                <a:gd name="T13" fmla="*/ 1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" h="81">
                  <a:moveTo>
                    <a:pt x="1" y="16"/>
                  </a:moveTo>
                  <a:cubicBezTo>
                    <a:pt x="0" y="6"/>
                    <a:pt x="0" y="0"/>
                    <a:pt x="16" y="1"/>
                  </a:cubicBezTo>
                  <a:cubicBezTo>
                    <a:pt x="34" y="2"/>
                    <a:pt x="52" y="3"/>
                    <a:pt x="79" y="9"/>
                  </a:cubicBezTo>
                  <a:cubicBezTo>
                    <a:pt x="80" y="12"/>
                    <a:pt x="85" y="33"/>
                    <a:pt x="66" y="54"/>
                  </a:cubicBezTo>
                  <a:cubicBezTo>
                    <a:pt x="57" y="63"/>
                    <a:pt x="45" y="71"/>
                    <a:pt x="31" y="76"/>
                  </a:cubicBezTo>
                  <a:cubicBezTo>
                    <a:pt x="26" y="78"/>
                    <a:pt x="20" y="80"/>
                    <a:pt x="15" y="81"/>
                  </a:cubicBezTo>
                  <a:cubicBezTo>
                    <a:pt x="7" y="48"/>
                    <a:pt x="3" y="27"/>
                    <a:pt x="1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B8DB9EE-D993-4772-B80F-7009C9AE3E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915275" y="790575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2 h 107"/>
                <a:gd name="T6" fmla="*/ 75 w 104"/>
                <a:gd name="T7" fmla="*/ 32 h 107"/>
                <a:gd name="T8" fmla="*/ 75 w 104"/>
                <a:gd name="T9" fmla="*/ 107 h 107"/>
                <a:gd name="T10" fmla="*/ 32 w 104"/>
                <a:gd name="T11" fmla="*/ 107 h 107"/>
                <a:gd name="T12" fmla="*/ 32 w 104"/>
                <a:gd name="T13" fmla="*/ 32 h 107"/>
                <a:gd name="T14" fmla="*/ 0 w 104"/>
                <a:gd name="T15" fmla="*/ 32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AB515736-154C-4147-8DC0-A52AF97138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064500" y="790575"/>
              <a:ext cx="201613" cy="169863"/>
            </a:xfrm>
            <a:custGeom>
              <a:avLst/>
              <a:gdLst>
                <a:gd name="T0" fmla="*/ 63 w 127"/>
                <a:gd name="T1" fmla="*/ 44 h 107"/>
                <a:gd name="T2" fmla="*/ 42 w 127"/>
                <a:gd name="T3" fmla="*/ 107 h 107"/>
                <a:gd name="T4" fmla="*/ 0 w 127"/>
                <a:gd name="T5" fmla="*/ 107 h 107"/>
                <a:gd name="T6" fmla="*/ 40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EDD04B9D-F97B-4479-B2E9-48C9660609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250238" y="790575"/>
              <a:ext cx="168275" cy="169863"/>
            </a:xfrm>
            <a:custGeom>
              <a:avLst/>
              <a:gdLst>
                <a:gd name="T0" fmla="*/ 0 w 106"/>
                <a:gd name="T1" fmla="*/ 0 h 107"/>
                <a:gd name="T2" fmla="*/ 106 w 106"/>
                <a:gd name="T3" fmla="*/ 0 h 107"/>
                <a:gd name="T4" fmla="*/ 106 w 106"/>
                <a:gd name="T5" fmla="*/ 32 h 107"/>
                <a:gd name="T6" fmla="*/ 75 w 106"/>
                <a:gd name="T7" fmla="*/ 32 h 107"/>
                <a:gd name="T8" fmla="*/ 75 w 106"/>
                <a:gd name="T9" fmla="*/ 107 h 107"/>
                <a:gd name="T10" fmla="*/ 32 w 106"/>
                <a:gd name="T11" fmla="*/ 107 h 107"/>
                <a:gd name="T12" fmla="*/ 32 w 106"/>
                <a:gd name="T13" fmla="*/ 32 h 107"/>
                <a:gd name="T14" fmla="*/ 0 w 106"/>
                <a:gd name="T15" fmla="*/ 32 h 107"/>
                <a:gd name="T16" fmla="*/ 0 w 106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6" h="107">
                  <a:moveTo>
                    <a:pt x="0" y="0"/>
                  </a:moveTo>
                  <a:lnTo>
                    <a:pt x="106" y="0"/>
                  </a:lnTo>
                  <a:lnTo>
                    <a:pt x="106" y="32"/>
                  </a:lnTo>
                  <a:lnTo>
                    <a:pt x="75" y="32"/>
                  </a:lnTo>
                  <a:lnTo>
                    <a:pt x="75" y="107"/>
                  </a:lnTo>
                  <a:lnTo>
                    <a:pt x="32" y="107"/>
                  </a:lnTo>
                  <a:lnTo>
                    <a:pt x="32" y="32"/>
                  </a:lnTo>
                  <a:lnTo>
                    <a:pt x="0" y="32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21">
              <a:extLst>
                <a:ext uri="{FF2B5EF4-FFF2-40B4-BE49-F238E27FC236}">
                  <a16:creationId xmlns:a16="http://schemas.microsoft.com/office/drawing/2014/main" id="{CED9A06B-B0FD-4901-B555-82F4E0438C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399463" y="790575"/>
              <a:ext cx="204788" cy="169863"/>
            </a:xfrm>
            <a:custGeom>
              <a:avLst/>
              <a:gdLst>
                <a:gd name="T0" fmla="*/ 63 w 129"/>
                <a:gd name="T1" fmla="*/ 44 h 107"/>
                <a:gd name="T2" fmla="*/ 42 w 129"/>
                <a:gd name="T3" fmla="*/ 107 h 107"/>
                <a:gd name="T4" fmla="*/ 0 w 129"/>
                <a:gd name="T5" fmla="*/ 107 h 107"/>
                <a:gd name="T6" fmla="*/ 42 w 129"/>
                <a:gd name="T7" fmla="*/ 0 h 107"/>
                <a:gd name="T8" fmla="*/ 87 w 129"/>
                <a:gd name="T9" fmla="*/ 0 h 107"/>
                <a:gd name="T10" fmla="*/ 129 w 129"/>
                <a:gd name="T11" fmla="*/ 107 h 107"/>
                <a:gd name="T12" fmla="*/ 87 w 129"/>
                <a:gd name="T13" fmla="*/ 107 h 107"/>
                <a:gd name="T14" fmla="*/ 63 w 129"/>
                <a:gd name="T15" fmla="*/ 4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9" h="107">
                  <a:moveTo>
                    <a:pt x="63" y="44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7" y="0"/>
                  </a:lnTo>
                  <a:lnTo>
                    <a:pt x="129" y="107"/>
                  </a:lnTo>
                  <a:lnTo>
                    <a:pt x="87" y="107"/>
                  </a:lnTo>
                  <a:lnTo>
                    <a:pt x="63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69917" y="760768"/>
            <a:ext cx="1393825" cy="17780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FB283A24-C558-4D8E-AA50-4FE3CD35140E}"/>
              </a:ext>
            </a:extLst>
          </p:cNvPr>
          <p:cNvSpPr txBox="1"/>
          <p:nvPr userDrawn="1"/>
        </p:nvSpPr>
        <p:spPr bwMode="gray">
          <a:xfrm>
            <a:off x="57478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FFFF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800281315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8709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4514568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649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91A4C2-3112-430B-80D6-9EFA992F783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816599" y="0"/>
            <a:ext cx="3327401" cy="5143500"/>
          </a:xfrm>
          <a:prstGeom prst="rect">
            <a:avLst/>
          </a:prstGeom>
        </p:spPr>
      </p:pic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D586238D-7266-4AB3-8E47-4132FF057F2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8563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983A2F-2A4E-40ED-8DE8-79962A1785B8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7735977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787093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0" name="Slide Number Placeholder 12">
            <a:extLst>
              <a:ext uri="{FF2B5EF4-FFF2-40B4-BE49-F238E27FC236}">
                <a16:creationId xmlns:a16="http://schemas.microsoft.com/office/drawing/2014/main" id="{AF774F21-8E4F-4919-91CC-C5366E9B5F0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2859552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6039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953A5D-55BA-4B2D-9D3A-18EB3EDBDE7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5805" y="1059359"/>
            <a:ext cx="3562346" cy="830997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rtl="0">
              <a:lnSpc>
                <a:spcPct val="90000"/>
              </a:lnSpc>
              <a:defRPr sz="300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85805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85804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009C1F9-946B-4E60-A671-E56A6ABA0CC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685805" y="762387"/>
            <a:ext cx="3562346" cy="23083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rtl="0">
              <a:defRPr lang="en-US" sz="15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BC958B0-5CA8-46DA-A380-86DC31113E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B2CC4F-CB80-4F93-B07D-DD36FF5E877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32DB0DF8-9206-4A4A-B34B-44D59FD5A75A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37622818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4811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781760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7484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6649117" cy="507831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3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A84CCCE4-2E21-4327-9AA6-B626C1237BD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19166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9206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46588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963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43CC91A-3BEC-4AED-8D0E-1DB89E0C62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08C6D01-6F1D-4578-B4DD-1C90C70B7BB9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200667668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BC23171-6D66-4C85-8065-9F34B710AB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2778138D-3F76-4DDD-961B-7B56D3040CEB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00265903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925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687C95B0-3653-4C02-9A18-9DEF6EE679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E1DF87B6-2229-4F16-9FC9-FBF540724FC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047299605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3925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1FAFD0BD-B740-408E-B4F2-C47C6AB1BE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1C390E42-D43E-42F1-8153-01E65DDDBE84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26413205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8765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94F4996B-B019-47E1-8F55-9B1CE8E642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6C02B5D9-6BA1-4342-923C-0B52546F24D6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423823746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492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5CDF9B29-53CA-4A12-B955-757AB1E85EA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AF150896-0208-4F1B-94AF-1DDDC92E8AAC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40031972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96494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F91A4C2-3112-430B-80D6-9EFA992F783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5816599" y="0"/>
            <a:ext cx="3327401" cy="5143500"/>
          </a:xfrm>
          <a:prstGeom prst="rect">
            <a:avLst/>
          </a:prstGeom>
        </p:spPr>
      </p:pic>
      <p:sp>
        <p:nvSpPr>
          <p:cNvPr id="16" name="Slide Number Placeholder 12">
            <a:extLst>
              <a:ext uri="{FF2B5EF4-FFF2-40B4-BE49-F238E27FC236}">
                <a16:creationId xmlns:a16="http://schemas.microsoft.com/office/drawing/2014/main" id="{D586238D-7266-4AB3-8E47-4132FF057F25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735735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105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0A8AD30F-531A-46E3-9C0A-1EB18852C4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F3B7A416-E975-465D-BCE4-08BDFAB457CE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66612320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5575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3301977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66039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0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6953A5D-55BA-4B2D-9D3A-18EB3EDBDE7F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685805" y="1059359"/>
            <a:ext cx="3562346" cy="830997"/>
          </a:xfrm>
          <a:prstGeom prst="rect">
            <a:avLst/>
          </a:prstGeom>
        </p:spPr>
        <p:txBody>
          <a:bodyPr vert="horz" anchor="t">
            <a:spAutoFit/>
          </a:bodyPr>
          <a:lstStyle>
            <a:lvl1pPr rtl="0">
              <a:lnSpc>
                <a:spcPct val="90000"/>
              </a:lnSpc>
              <a:defRPr sz="300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685805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>
                <a:solidFill>
                  <a:schemeClr val="bg1"/>
                </a:solidFill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685804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B009C1F9-946B-4E60-A671-E56A6ABA0CC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685805" y="762387"/>
            <a:ext cx="3562346" cy="23083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rtl="0">
              <a:defRPr lang="en-US" sz="1500" b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BC958B0-5CA8-46DA-A380-86DC31113E3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B2CC4F-CB80-4F93-B07D-DD36FF5E8772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32DB0DF8-9206-4A4A-B34B-44D59FD5A75A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5003536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54811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95174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74847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3435351"/>
            <a:ext cx="6649117" cy="507831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3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A84CCCE4-2E21-4327-9AA6-B626C1237BD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9630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492065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136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9963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043CC91A-3BEC-4AED-8D0E-1DB89E0C62A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308C6D01-6F1D-4578-B4DD-1C90C70B7BB9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4496569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927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BC23171-6D66-4C85-8065-9F34B710ABE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k">
            <a:extLst>
              <a:ext uri="{FF2B5EF4-FFF2-40B4-BE49-F238E27FC236}">
                <a16:creationId xmlns:a16="http://schemas.microsoft.com/office/drawing/2014/main" id="{2778138D-3F76-4DDD-961B-7B56D3040CEB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61667415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925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687C95B0-3653-4C02-9A18-9DEF6EE6790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E1DF87B6-2229-4F16-9FC9-FBF540724FC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74550068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03925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1FAFD0BD-B740-408E-B4F2-C47C6AB1BE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1C390E42-D43E-42F1-8153-01E65DDDBE84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7095423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B20567-5BFD-4FE6-9A88-4F3740FD95FB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3" y="1295400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E0078EB0-C744-4CFB-B556-0741A4448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0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3960004947"/>
      </p:ext>
    </p:extLst>
  </p:cSld>
  <p:clrMapOvr>
    <a:masterClrMapping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87651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rgbClr val="DFE9F9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94F4996B-B019-47E1-8F55-9B1CE8E642D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6C02B5D9-6BA1-4342-923C-0B52546F24D6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7327232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049290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5CDF9B29-53CA-4A12-B955-757AB1E85EA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k">
            <a:extLst>
              <a:ext uri="{FF2B5EF4-FFF2-40B4-BE49-F238E27FC236}">
                <a16:creationId xmlns:a16="http://schemas.microsoft.com/office/drawing/2014/main" id="{AF150896-0208-4F1B-94AF-1DDDC92E8AAC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65889555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1055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 Placeholder 12">
            <a:extLst>
              <a:ext uri="{FF2B5EF4-FFF2-40B4-BE49-F238E27FC236}">
                <a16:creationId xmlns:a16="http://schemas.microsoft.com/office/drawing/2014/main" id="{0A8AD30F-531A-46E3-9C0A-1EB18852C43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k">
            <a:extLst>
              <a:ext uri="{FF2B5EF4-FFF2-40B4-BE49-F238E27FC236}">
                <a16:creationId xmlns:a16="http://schemas.microsoft.com/office/drawing/2014/main" id="{F3B7A416-E975-465D-BCE4-08BDFAB457CE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14077107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055750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743008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27C05-E3DC-4E41-A62D-F58402920B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3940174" cy="828000"/>
          </a:xfrm>
        </p:spPr>
        <p:txBody>
          <a:bodyPr anchor="t"/>
          <a:lstStyle>
            <a:lvl1pPr algn="l">
              <a:defRPr sz="2600" b="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8523E2-91B6-4A9A-B96E-261DE86F52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4" y="3348001"/>
            <a:ext cx="3940174" cy="483771"/>
          </a:xfrm>
        </p:spPr>
        <p:txBody>
          <a:bodyPr/>
          <a:lstStyle>
            <a:lvl1pPr marL="0" indent="0" algn="l">
              <a:buNone/>
              <a:defRPr sz="1400">
                <a:solidFill>
                  <a:schemeClr val="accent6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5B81F69-CD28-2206-462C-3B821299FFEE}"/>
              </a:ext>
            </a:extLst>
          </p:cNvPr>
          <p:cNvSpPr txBox="1"/>
          <p:nvPr userDrawn="1"/>
        </p:nvSpPr>
        <p:spPr>
          <a:xfrm>
            <a:off x="557214" y="4536000"/>
            <a:ext cx="4014787" cy="26194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lnSpc>
                <a:spcPct val="90000"/>
              </a:lnSpc>
            </a:pPr>
            <a:r>
              <a:rPr lang="en-GB" sz="1700" b="1">
                <a:solidFill>
                  <a:schemeClr val="accent6"/>
                </a:solidFill>
              </a:rPr>
              <a:t>Together we make the differ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4E6C21-520A-27D5-C05A-0B25365F0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6801" y="338401"/>
            <a:ext cx="710185" cy="62179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B985384-FC48-AC57-7038-1B1A4AF95C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13" y="756000"/>
            <a:ext cx="1395987" cy="185928"/>
          </a:xfrm>
          <a:prstGeom prst="rect">
            <a:avLst/>
          </a:prstGeom>
        </p:spPr>
      </p:pic>
      <p:grpSp>
        <p:nvGrpSpPr>
          <p:cNvPr id="19" name="Group 8">
            <a:extLst>
              <a:ext uri="{FF2B5EF4-FFF2-40B4-BE49-F238E27FC236}">
                <a16:creationId xmlns:a16="http://schemas.microsoft.com/office/drawing/2014/main" id="{6143AEFC-AAE1-B4AC-3440-5C43CB02426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2134801"/>
            <a:ext cx="1249200" cy="260684"/>
            <a:chOff x="0" y="1019"/>
            <a:chExt cx="5760" cy="1202"/>
          </a:xfrm>
          <a:solidFill>
            <a:schemeClr val="accent6"/>
          </a:solidFill>
        </p:grpSpPr>
        <p:sp>
          <p:nvSpPr>
            <p:cNvPr id="21" name="Freeform 9">
              <a:extLst>
                <a:ext uri="{FF2B5EF4-FFF2-40B4-BE49-F238E27FC236}">
                  <a16:creationId xmlns:a16="http://schemas.microsoft.com/office/drawing/2014/main" id="{3B1C4BD2-19E8-A0BD-EE7A-A32B3520F7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E5A6BE82-57D7-AAC9-D1A4-17D04CA2143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385EA9BC-C813-4B25-0F07-E06F7BFED73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26000"/>
            <a:ext cx="9144000" cy="7129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978137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A7B24-3618-4271-8474-4F022B586FCB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4729777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u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8029574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DA786A-6689-454C-ABAB-A2AB25C3CAB0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accent6"/>
                </a:solidFill>
              </a:defRPr>
            </a:lvl1pPr>
            <a:lvl2pPr>
              <a:defRPr sz="800" b="0">
                <a:solidFill>
                  <a:schemeClr val="tx1"/>
                </a:solidFill>
              </a:defRPr>
            </a:lvl2pPr>
            <a:lvl3pPr>
              <a:defRPr sz="800">
                <a:solidFill>
                  <a:schemeClr val="tx1"/>
                </a:solidFill>
              </a:defRPr>
            </a:lvl3pPr>
            <a:lvl4pPr>
              <a:defRPr sz="800">
                <a:solidFill>
                  <a:schemeClr val="tx1"/>
                </a:solidFill>
              </a:defRPr>
            </a:lvl4pPr>
            <a:lvl5pPr>
              <a:defRPr sz="8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3058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Pullou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C64F18-2800-4BB9-B012-19C36D323940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83368E7-B9A2-D6EA-1E20-612C6AD9D3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68964" y="1295401"/>
            <a:ext cx="2917825" cy="3338513"/>
          </a:xfrm>
        </p:spPr>
        <p:txBody>
          <a:bodyPr/>
          <a:lstStyle>
            <a:lvl1pPr>
              <a:defRPr sz="6000" b="1">
                <a:solidFill>
                  <a:schemeClr val="bg1"/>
                </a:solidFill>
              </a:defRPr>
            </a:lvl1pPr>
            <a:lvl2pPr>
              <a:defRPr sz="800" b="0">
                <a:solidFill>
                  <a:schemeClr val="bg1"/>
                </a:solidFill>
              </a:defRPr>
            </a:lvl2pPr>
            <a:lvl3pPr>
              <a:defRPr sz="800">
                <a:solidFill>
                  <a:schemeClr val="bg1"/>
                </a:solidFill>
              </a:defRPr>
            </a:lvl3pPr>
            <a:lvl4pPr>
              <a:defRPr sz="800">
                <a:solidFill>
                  <a:schemeClr val="bg1"/>
                </a:solidFill>
              </a:defRPr>
            </a:lvl4pPr>
            <a:lvl5pPr>
              <a:defRPr sz="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00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5824647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5B2BA5-F786-4D59-9BB6-E0FA8C393BC4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6643577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C338B-DB3A-4F2A-B682-99BE004527E5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1295400"/>
            <a:ext cx="4962525" cy="3338513"/>
          </a:xfrm>
        </p:spPr>
        <p:txBody>
          <a:bodyPr/>
          <a:lstStyle>
            <a:lvl1pPr marL="359991" indent="-359991">
              <a:spcAft>
                <a:spcPts val="992"/>
              </a:spcAft>
              <a:buFont typeface="+mj-lt"/>
              <a:buAutoNum type="arabicPeriod"/>
              <a:defRPr b="1"/>
            </a:lvl1pPr>
            <a:lvl2pPr marL="719982" indent="-359991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7508043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Heav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0885B8-08A9-47BE-A72B-B14778FE5FC6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9481938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DE52FA-8FFF-42E1-AEA1-8581D3734E23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9" y="141278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9" y="3105614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9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5195719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CA2611-375C-4676-9E0B-BDDC24A8FCD4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9129146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03645A-D538-4CF3-B1C0-5B3A69BADEA9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3809921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6614" y="0"/>
            <a:ext cx="449738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425451"/>
            <a:ext cx="39401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4" y="1295400"/>
            <a:ext cx="394017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DB735A9-F57E-4490-BC77-7B9E28A7CC55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88895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Picture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D43D8C0-78FC-AED2-8B59-82D7A7786CA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668964" y="0"/>
            <a:ext cx="3475037" cy="51435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496252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4962525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F0F9C1-72B1-4C14-A304-95F2614510D9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15983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26B488-9592-4568-B01E-D56DFEF04AB8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61354096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F03EEA-4B08-4949-B94A-642C5DB01E97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710000"/>
            <a:ext cx="4014786" cy="21336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1544024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Bleed Imag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59BB83-380B-4F28-7F53-FE8F66C85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F3B0F4-3F74-435F-84C5-07170DB15D40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60F67F-479D-3169-7B30-B99348B67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8E09D1-2023-16A3-88E0-6B7724520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4943ABC-0B5E-F156-D6BC-CEAE1E5BD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  <a:effectLst>
                  <a:outerShdw blurRad="635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5697655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 and Large Tex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565412-FC2D-446C-9A78-FEE412FC604D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bg1"/>
                </a:solidFill>
              </a:defRPr>
            </a:lvl1pPr>
            <a:lvl2pPr>
              <a:defRPr sz="2200">
                <a:solidFill>
                  <a:schemeClr val="bg1"/>
                </a:solidFill>
              </a:defRPr>
            </a:lvl2pPr>
            <a:lvl3pPr>
              <a:defRPr sz="2200">
                <a:solidFill>
                  <a:schemeClr val="bg1"/>
                </a:solidFill>
              </a:defRPr>
            </a:lvl3pPr>
            <a:lvl4pPr>
              <a:defRPr sz="2200">
                <a:solidFill>
                  <a:schemeClr val="bg1"/>
                </a:solidFill>
              </a:defRPr>
            </a:lvl4pPr>
            <a:lvl5pPr>
              <a:defRPr sz="2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898218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F63D1-A11B-46E8-802F-384976615458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643506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98CE3A-3C53-972F-886E-5A87F035D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684D3A6-4BD9-CA22-4CD2-22DFC00469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E160D9-F43B-43A4-9B40-E8E0FA85B0A3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42231-F4AC-4010-A5F2-C688A1CEA1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3E6CDB-4EEF-BEA9-07EA-70AE9CB8C6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641922-6C7D-5718-0D52-40D6D758BF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2" y="1295399"/>
            <a:ext cx="4962525" cy="3338513"/>
          </a:xfrm>
        </p:spPr>
        <p:txBody>
          <a:bodyPr/>
          <a:lstStyle>
            <a:lvl1pPr marL="360000" indent="-360000">
              <a:spcAft>
                <a:spcPts val="992"/>
              </a:spcAft>
              <a:buFont typeface="+mj-lt"/>
              <a:buAutoNum type="arabicPeriod"/>
              <a:defRPr b="1"/>
            </a:lvl1pPr>
            <a:lvl2pPr marL="720000" indent="-360000">
              <a:spcAft>
                <a:spcPts val="992"/>
              </a:spcAft>
              <a:buFont typeface="Trebuchet MS" panose="020B0603020202020204" pitchFamily="34" charset="0"/>
              <a:buChar char="―"/>
              <a:defRPr b="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02714400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443FCA-9294-41A7-A9C0-27EAD67AF2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32198"/>
            <a:ext cx="5983287" cy="2139553"/>
          </a:xfrm>
        </p:spPr>
        <p:txBody>
          <a:bodyPr anchor="t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D4BB60-1EC3-4F52-8385-3C1B8427B9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B303F7D-D20D-4FF3-B279-C21171F204C0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7D31BA-A365-4FFF-8AAE-7C6000885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FCB454-B0E4-4ACB-AC66-35B98F9E46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509081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Poi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2A0A553-CC76-7608-485E-C2C12831CF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615715-5F6A-454D-9322-6D81D2FC0796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B323E9-FF11-BD5A-D1B0-71D965EC7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4CA7B8-9B3A-B95A-9C7E-812A5A7BB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DF2E2A-51B5-2BFB-9B06-DA7959B881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425451"/>
            <a:ext cx="4962525" cy="2146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6791555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307C4A3-67D2-2C1D-5A6C-F21C5E6CBE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E5F124E3-7619-4AE9-A8EC-552D051BDD0E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0660BD-785D-7AA9-BC29-91C1AF00A2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A36844-70EB-040E-D07F-7F2ED521E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71318A-B809-80FA-6BE8-824CEDE31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425450"/>
            <a:ext cx="5983286" cy="4208463"/>
          </a:xfrm>
        </p:spPr>
        <p:txBody>
          <a:bodyPr/>
          <a:lstStyle>
            <a:lvl1pPr>
              <a:defRPr sz="2200">
                <a:solidFill>
                  <a:schemeClr val="tx1"/>
                </a:solidFill>
              </a:defRPr>
            </a:lvl1pPr>
            <a:lvl2pPr>
              <a:defRPr sz="2200">
                <a:solidFill>
                  <a:schemeClr val="tx1"/>
                </a:solidFill>
              </a:defRPr>
            </a:lvl2pPr>
            <a:lvl3pPr>
              <a:defRPr sz="2200">
                <a:solidFill>
                  <a:schemeClr val="tx1"/>
                </a:solidFill>
              </a:defRPr>
            </a:lvl3pPr>
            <a:lvl4pPr>
              <a:defRPr sz="2200">
                <a:solidFill>
                  <a:schemeClr val="tx1"/>
                </a:solidFill>
              </a:defRPr>
            </a:lvl4pPr>
            <a:lvl5pPr>
              <a:defRPr sz="2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542073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2" y="1295401"/>
            <a:ext cx="3940176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1295401"/>
            <a:ext cx="3940174" cy="33385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29DE95-333E-4AC7-89C5-8FF66B25BE98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2546916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3195782"/>
            <a:ext cx="3940176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6" y="3195782"/>
            <a:ext cx="3940174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F652F9-CA00-437F-8D05-E4D88DA86DF9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4646614" y="1295400"/>
            <a:ext cx="3068636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6692645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Pictures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02CCA4-3CB8-459B-8F0C-82B1623A942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7213" y="1295400"/>
            <a:ext cx="4962525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7DC9AC-5058-43F9-9D95-42D4C6DCD43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7215" y="3068682"/>
            <a:ext cx="4962522" cy="156523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1980DB-9D3C-4827-B67E-AD140F2FC8AD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E4F5779F-2EF1-E53C-0C75-BA19A2B0B83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668965" y="1295400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0F787AB6-85DB-027F-CFF5-BA67FFCEB18C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668965" y="3068681"/>
            <a:ext cx="2908300" cy="1565232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62765890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E73BA2-D1B3-4F4A-ACC9-A862A55A14E7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25E9834-38FC-FE86-7060-AF6CAE6B6C1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20BF1C0-EC86-27A9-A787-31A968E18D5A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1295400"/>
            <a:ext cx="2584800" cy="33349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9928772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nd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3F0A54-5B28-4308-9F4C-A89070E90C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C435D99-1BB5-44B7-B185-2BBEDCFC0E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A5C3D-4D66-4CF1-9490-6D2E83947CB9}" type="datetime1">
              <a:rPr lang="en-GB" smtClean="0"/>
              <a:t>24/10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0054B9-7099-4E51-9979-C9C71BE227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399ACF2-B8F2-4F90-A83E-A297699482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FD1AF50-DA79-41FD-B824-CD64A815EDCE}"/>
              </a:ext>
            </a:extLst>
          </p:cNvPr>
          <p:cNvSpPr>
            <a:spLocks noGrp="1" noChangeAspect="1"/>
          </p:cNvSpPr>
          <p:nvPr>
            <p:ph type="pic" idx="13"/>
          </p:nvPr>
        </p:nvSpPr>
        <p:spPr>
          <a:xfrm>
            <a:off x="557213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5B654C8-7B3C-594B-59B0-E73FBA4E720A}"/>
              </a:ext>
            </a:extLst>
          </p:cNvPr>
          <p:cNvSpPr>
            <a:spLocks noGrp="1" noChangeAspect="1"/>
          </p:cNvSpPr>
          <p:nvPr>
            <p:ph type="pic" idx="15"/>
          </p:nvPr>
        </p:nvSpPr>
        <p:spPr>
          <a:xfrm>
            <a:off x="3279600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1DD63EF-0F78-C7C5-B7E4-CB5E106C79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AE08034-05A7-EE42-8A7A-03055BEC0787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3279600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331F0C5-28FD-9DB0-FE60-C5EA879D182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7" y="3192209"/>
            <a:ext cx="2584800" cy="143813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547756A5-FC04-F476-7A24-B18F070273D1}"/>
              </a:ext>
            </a:extLst>
          </p:cNvPr>
          <p:cNvSpPr>
            <a:spLocks noGrp="1" noChangeAspect="1"/>
          </p:cNvSpPr>
          <p:nvPr>
            <p:ph type="pic" idx="17"/>
          </p:nvPr>
        </p:nvSpPr>
        <p:spPr>
          <a:xfrm>
            <a:off x="6001987" y="1295400"/>
            <a:ext cx="2584800" cy="178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None/>
              <a:defRPr sz="1200"/>
            </a:lvl1pPr>
            <a:lvl2pPr marL="457189" indent="0">
              <a:buNone/>
              <a:defRPr sz="2800"/>
            </a:lvl2pPr>
            <a:lvl3pPr marL="914378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2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07770631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27417E-3B96-499C-AC3A-CDF07AEF4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C92A555-CEFA-4D21-902E-3F719B31B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2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B8FCC9-BF00-41DA-9F14-DEDC6C997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BC4EDE-B39C-487D-9F96-9DA881F0F22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9BFD4B9-FC69-49A8-A7F9-CDB9AF0F9C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845C3D-650F-4C33-896D-A3B63B63A6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3406E42-BA55-6AAB-D5F5-9A92C511888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279600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C109805-FDCA-F337-944D-9ED8C4497D6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001988" y="1295400"/>
            <a:ext cx="2584800" cy="3334940"/>
          </a:xfrm>
          <a:solidFill>
            <a:schemeClr val="bg2"/>
          </a:solidFill>
        </p:spPr>
        <p:txBody>
          <a:bodyPr lIns="108000" tIns="108000" rIns="108000" bIns="108000"/>
          <a:lstStyle>
            <a:lvl1pPr>
              <a:spcAft>
                <a:spcPts val="794"/>
              </a:spcAft>
              <a:defRPr sz="1000"/>
            </a:lvl1pPr>
            <a:lvl2pPr>
              <a:spcAft>
                <a:spcPts val="794"/>
              </a:spcAft>
              <a:defRPr sz="1000"/>
            </a:lvl2pPr>
            <a:lvl3pPr marL="143996" indent="-143996">
              <a:spcAft>
                <a:spcPts val="794"/>
              </a:spcAft>
              <a:defRPr sz="1000"/>
            </a:lvl3pPr>
            <a:lvl4pPr marL="287993" indent="-143996">
              <a:spcAft>
                <a:spcPts val="794"/>
              </a:spcAft>
              <a:defRPr sz="1000"/>
            </a:lvl4pPr>
            <a:lvl5pPr marL="431990" indent="-143996">
              <a:spcAft>
                <a:spcPts val="794"/>
              </a:spcAft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8652106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9CD3-4FFB-CA7F-594F-DF6068CFB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4" y="1098000"/>
            <a:ext cx="2917825" cy="949103"/>
          </a:xfrm>
        </p:spPr>
        <p:txBody>
          <a:bodyPr/>
          <a:lstStyle>
            <a:lvl1pPr>
              <a:defRPr b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C02E6A4-0907-30B9-72E1-2F229E2B9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8EDC0C-3EB5-48E3-B077-A1314F5C6501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4CB5F-5E34-89DC-5BDD-591A9216E3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D8E871-65EF-1120-D75B-6F879A479E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FC37C16-CC2A-677E-D10A-4A2F079B4422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57213" y="425451"/>
            <a:ext cx="2916000" cy="608513"/>
            <a:chOff x="0" y="1019"/>
            <a:chExt cx="5760" cy="1202"/>
          </a:xfrm>
          <a:solidFill>
            <a:schemeClr val="accent6"/>
          </a:solidFill>
        </p:grpSpPr>
        <p:sp>
          <p:nvSpPr>
            <p:cNvPr id="7" name="Freeform 9">
              <a:extLst>
                <a:ext uri="{FF2B5EF4-FFF2-40B4-BE49-F238E27FC236}">
                  <a16:creationId xmlns:a16="http://schemas.microsoft.com/office/drawing/2014/main" id="{590DF7F6-C8E2-1B0F-78C7-107CB303929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0" y="1019"/>
              <a:ext cx="5380" cy="1202"/>
            </a:xfrm>
            <a:custGeom>
              <a:avLst/>
              <a:gdLst>
                <a:gd name="T0" fmla="*/ 1520 w 9167"/>
                <a:gd name="T1" fmla="*/ 2018 h 2047"/>
                <a:gd name="T2" fmla="*/ 593 w 9167"/>
                <a:gd name="T3" fmla="*/ 1655 h 2047"/>
                <a:gd name="T4" fmla="*/ 1505 w 9167"/>
                <a:gd name="T5" fmla="*/ 331 h 2047"/>
                <a:gd name="T6" fmla="*/ 85 w 9167"/>
                <a:gd name="T7" fmla="*/ 78 h 2047"/>
                <a:gd name="T8" fmla="*/ 933 w 9167"/>
                <a:gd name="T9" fmla="*/ 441 h 2047"/>
                <a:gd name="T10" fmla="*/ 0 w 9167"/>
                <a:gd name="T11" fmla="*/ 1782 h 2047"/>
                <a:gd name="T12" fmla="*/ 2894 w 9167"/>
                <a:gd name="T13" fmla="*/ 1454 h 2047"/>
                <a:gd name="T14" fmla="*/ 2275 w 9167"/>
                <a:gd name="T15" fmla="*/ 579 h 2047"/>
                <a:gd name="T16" fmla="*/ 2316 w 9167"/>
                <a:gd name="T17" fmla="*/ 2047 h 2047"/>
                <a:gd name="T18" fmla="*/ 2772 w 9167"/>
                <a:gd name="T19" fmla="*/ 1661 h 2047"/>
                <a:gd name="T20" fmla="*/ 1979 w 9167"/>
                <a:gd name="T21" fmla="*/ 1454 h 2047"/>
                <a:gd name="T22" fmla="*/ 1976 w 9167"/>
                <a:gd name="T23" fmla="*/ 1154 h 2047"/>
                <a:gd name="T24" fmla="*/ 2499 w 9167"/>
                <a:gd name="T25" fmla="*/ 1154 h 2047"/>
                <a:gd name="T26" fmla="*/ 2999 w 9167"/>
                <a:gd name="T27" fmla="*/ 2018 h 2047"/>
                <a:gd name="T28" fmla="*/ 3440 w 9167"/>
                <a:gd name="T29" fmla="*/ 1307 h 2047"/>
                <a:gd name="T30" fmla="*/ 3751 w 9167"/>
                <a:gd name="T31" fmla="*/ 988 h 2047"/>
                <a:gd name="T32" fmla="*/ 3870 w 9167"/>
                <a:gd name="T33" fmla="*/ 587 h 2047"/>
                <a:gd name="T34" fmla="*/ 3394 w 9167"/>
                <a:gd name="T35" fmla="*/ 872 h 2047"/>
                <a:gd name="T36" fmla="*/ 3365 w 9167"/>
                <a:gd name="T37" fmla="*/ 610 h 2047"/>
                <a:gd name="T38" fmla="*/ 2999 w 9167"/>
                <a:gd name="T39" fmla="*/ 1074 h 2047"/>
                <a:gd name="T40" fmla="*/ 5213 w 9167"/>
                <a:gd name="T41" fmla="*/ 1454 h 2047"/>
                <a:gd name="T42" fmla="*/ 4594 w 9167"/>
                <a:gd name="T43" fmla="*/ 579 h 2047"/>
                <a:gd name="T44" fmla="*/ 4634 w 9167"/>
                <a:gd name="T45" fmla="*/ 2047 h 2047"/>
                <a:gd name="T46" fmla="*/ 5091 w 9167"/>
                <a:gd name="T47" fmla="*/ 1661 h 2047"/>
                <a:gd name="T48" fmla="*/ 4297 w 9167"/>
                <a:gd name="T49" fmla="*/ 1454 h 2047"/>
                <a:gd name="T50" fmla="*/ 4294 w 9167"/>
                <a:gd name="T51" fmla="*/ 1154 h 2047"/>
                <a:gd name="T52" fmla="*/ 4817 w 9167"/>
                <a:gd name="T53" fmla="*/ 1154 h 2047"/>
                <a:gd name="T54" fmla="*/ 5303 w 9167"/>
                <a:gd name="T55" fmla="*/ 2018 h 2047"/>
                <a:gd name="T56" fmla="*/ 5733 w 9167"/>
                <a:gd name="T57" fmla="*/ 1201 h 2047"/>
                <a:gd name="T58" fmla="*/ 5956 w 9167"/>
                <a:gd name="T59" fmla="*/ 933 h 2047"/>
                <a:gd name="T60" fmla="*/ 6163 w 9167"/>
                <a:gd name="T61" fmla="*/ 2018 h 2047"/>
                <a:gd name="T62" fmla="*/ 6593 w 9167"/>
                <a:gd name="T63" fmla="*/ 1195 h 2047"/>
                <a:gd name="T64" fmla="*/ 6813 w 9167"/>
                <a:gd name="T65" fmla="*/ 933 h 2047"/>
                <a:gd name="T66" fmla="*/ 7023 w 9167"/>
                <a:gd name="T67" fmla="*/ 2018 h 2047"/>
                <a:gd name="T68" fmla="*/ 7453 w 9167"/>
                <a:gd name="T69" fmla="*/ 1189 h 2047"/>
                <a:gd name="T70" fmla="*/ 6703 w 9167"/>
                <a:gd name="T71" fmla="*/ 648 h 2047"/>
                <a:gd name="T72" fmla="*/ 6511 w 9167"/>
                <a:gd name="T73" fmla="*/ 821 h 2047"/>
                <a:gd name="T74" fmla="*/ 5692 w 9167"/>
                <a:gd name="T75" fmla="*/ 803 h 2047"/>
                <a:gd name="T76" fmla="*/ 5666 w 9167"/>
                <a:gd name="T77" fmla="*/ 610 h 2047"/>
                <a:gd name="T78" fmla="*/ 5303 w 9167"/>
                <a:gd name="T79" fmla="*/ 1060 h 2047"/>
                <a:gd name="T80" fmla="*/ 8010 w 9167"/>
                <a:gd name="T81" fmla="*/ 610 h 2047"/>
                <a:gd name="T82" fmla="*/ 7569 w 9167"/>
                <a:gd name="T83" fmla="*/ 2018 h 2047"/>
                <a:gd name="T84" fmla="*/ 8010 w 9167"/>
                <a:gd name="T85" fmla="*/ 610 h 2047"/>
                <a:gd name="T86" fmla="*/ 8025 w 9167"/>
                <a:gd name="T87" fmla="*/ 219 h 2047"/>
                <a:gd name="T88" fmla="*/ 7557 w 9167"/>
                <a:gd name="T89" fmla="*/ 219 h 2047"/>
                <a:gd name="T90" fmla="*/ 7790 w 9167"/>
                <a:gd name="T91" fmla="*/ 438 h 2047"/>
                <a:gd name="T92" fmla="*/ 8554 w 9167"/>
                <a:gd name="T93" fmla="*/ 2047 h 2047"/>
                <a:gd name="T94" fmla="*/ 8783 w 9167"/>
                <a:gd name="T95" fmla="*/ 1157 h 2047"/>
                <a:gd name="T96" fmla="*/ 8722 w 9167"/>
                <a:gd name="T97" fmla="*/ 884 h 2047"/>
                <a:gd name="T98" fmla="*/ 9106 w 9167"/>
                <a:gd name="T99" fmla="*/ 662 h 2047"/>
                <a:gd name="T100" fmla="*/ 8129 w 9167"/>
                <a:gd name="T101" fmla="*/ 1042 h 2047"/>
                <a:gd name="T102" fmla="*/ 8742 w 9167"/>
                <a:gd name="T103" fmla="*/ 1624 h 2047"/>
                <a:gd name="T104" fmla="*/ 8173 w 9167"/>
                <a:gd name="T105" fmla="*/ 1635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167" h="2047">
                  <a:moveTo>
                    <a:pt x="0" y="2018"/>
                  </a:moveTo>
                  <a:cubicBezTo>
                    <a:pt x="1520" y="2018"/>
                    <a:pt x="1520" y="2018"/>
                    <a:pt x="1520" y="2018"/>
                  </a:cubicBezTo>
                  <a:cubicBezTo>
                    <a:pt x="1520" y="1655"/>
                    <a:pt x="1520" y="1655"/>
                    <a:pt x="1520" y="1655"/>
                  </a:cubicBezTo>
                  <a:cubicBezTo>
                    <a:pt x="593" y="1655"/>
                    <a:pt x="593" y="1655"/>
                    <a:pt x="593" y="1655"/>
                  </a:cubicBezTo>
                  <a:cubicBezTo>
                    <a:pt x="593" y="1644"/>
                    <a:pt x="593" y="1644"/>
                    <a:pt x="593" y="1644"/>
                  </a:cubicBezTo>
                  <a:cubicBezTo>
                    <a:pt x="1505" y="331"/>
                    <a:pt x="1505" y="331"/>
                    <a:pt x="1505" y="331"/>
                  </a:cubicBezTo>
                  <a:cubicBezTo>
                    <a:pt x="1505" y="78"/>
                    <a:pt x="1505" y="78"/>
                    <a:pt x="1505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441"/>
                    <a:pt x="85" y="441"/>
                    <a:pt x="85" y="441"/>
                  </a:cubicBezTo>
                  <a:cubicBezTo>
                    <a:pt x="933" y="441"/>
                    <a:pt x="933" y="441"/>
                    <a:pt x="933" y="441"/>
                  </a:cubicBezTo>
                  <a:cubicBezTo>
                    <a:pt x="933" y="449"/>
                    <a:pt x="933" y="449"/>
                    <a:pt x="933" y="449"/>
                  </a:cubicBezTo>
                  <a:cubicBezTo>
                    <a:pt x="0" y="1782"/>
                    <a:pt x="0" y="1782"/>
                    <a:pt x="0" y="1782"/>
                  </a:cubicBezTo>
                  <a:lnTo>
                    <a:pt x="0" y="2018"/>
                  </a:lnTo>
                  <a:close/>
                  <a:moveTo>
                    <a:pt x="2894" y="1454"/>
                  </a:moveTo>
                  <a:cubicBezTo>
                    <a:pt x="2900" y="1422"/>
                    <a:pt x="2909" y="1356"/>
                    <a:pt x="2909" y="1281"/>
                  </a:cubicBezTo>
                  <a:cubicBezTo>
                    <a:pt x="2909" y="933"/>
                    <a:pt x="2734" y="579"/>
                    <a:pt x="2275" y="579"/>
                  </a:cubicBezTo>
                  <a:cubicBezTo>
                    <a:pt x="1784" y="579"/>
                    <a:pt x="1558" y="973"/>
                    <a:pt x="1558" y="1330"/>
                  </a:cubicBezTo>
                  <a:cubicBezTo>
                    <a:pt x="1558" y="1770"/>
                    <a:pt x="1834" y="2047"/>
                    <a:pt x="2316" y="2047"/>
                  </a:cubicBezTo>
                  <a:cubicBezTo>
                    <a:pt x="2508" y="2047"/>
                    <a:pt x="2685" y="2018"/>
                    <a:pt x="2830" y="1958"/>
                  </a:cubicBezTo>
                  <a:cubicBezTo>
                    <a:pt x="2772" y="1661"/>
                    <a:pt x="2772" y="1661"/>
                    <a:pt x="2772" y="1661"/>
                  </a:cubicBezTo>
                  <a:cubicBezTo>
                    <a:pt x="2653" y="1701"/>
                    <a:pt x="2531" y="1722"/>
                    <a:pt x="2380" y="1722"/>
                  </a:cubicBezTo>
                  <a:cubicBezTo>
                    <a:pt x="2174" y="1722"/>
                    <a:pt x="1993" y="1635"/>
                    <a:pt x="1979" y="1454"/>
                  </a:cubicBezTo>
                  <a:lnTo>
                    <a:pt x="2894" y="1454"/>
                  </a:lnTo>
                  <a:close/>
                  <a:moveTo>
                    <a:pt x="1976" y="1154"/>
                  </a:moveTo>
                  <a:cubicBezTo>
                    <a:pt x="1988" y="1039"/>
                    <a:pt x="2063" y="870"/>
                    <a:pt x="2252" y="870"/>
                  </a:cubicBezTo>
                  <a:cubicBezTo>
                    <a:pt x="2453" y="870"/>
                    <a:pt x="2499" y="1048"/>
                    <a:pt x="2499" y="1154"/>
                  </a:cubicBezTo>
                  <a:lnTo>
                    <a:pt x="1976" y="1154"/>
                  </a:lnTo>
                  <a:close/>
                  <a:moveTo>
                    <a:pt x="2999" y="2018"/>
                  </a:moveTo>
                  <a:cubicBezTo>
                    <a:pt x="3440" y="2018"/>
                    <a:pt x="3440" y="2018"/>
                    <a:pt x="3440" y="2018"/>
                  </a:cubicBezTo>
                  <a:cubicBezTo>
                    <a:pt x="3440" y="1307"/>
                    <a:pt x="3440" y="1307"/>
                    <a:pt x="3440" y="1307"/>
                  </a:cubicBezTo>
                  <a:cubicBezTo>
                    <a:pt x="3440" y="1270"/>
                    <a:pt x="3443" y="1238"/>
                    <a:pt x="3449" y="1209"/>
                  </a:cubicBezTo>
                  <a:cubicBezTo>
                    <a:pt x="3478" y="1071"/>
                    <a:pt x="3589" y="988"/>
                    <a:pt x="3751" y="988"/>
                  </a:cubicBezTo>
                  <a:cubicBezTo>
                    <a:pt x="3801" y="988"/>
                    <a:pt x="3835" y="993"/>
                    <a:pt x="3870" y="999"/>
                  </a:cubicBezTo>
                  <a:cubicBezTo>
                    <a:pt x="3870" y="587"/>
                    <a:pt x="3870" y="587"/>
                    <a:pt x="3870" y="587"/>
                  </a:cubicBezTo>
                  <a:cubicBezTo>
                    <a:pt x="3838" y="582"/>
                    <a:pt x="3818" y="579"/>
                    <a:pt x="3777" y="579"/>
                  </a:cubicBezTo>
                  <a:cubicBezTo>
                    <a:pt x="3638" y="579"/>
                    <a:pt x="3466" y="665"/>
                    <a:pt x="3394" y="872"/>
                  </a:cubicBezTo>
                  <a:cubicBezTo>
                    <a:pt x="3382" y="872"/>
                    <a:pt x="3382" y="872"/>
                    <a:pt x="3382" y="872"/>
                  </a:cubicBezTo>
                  <a:cubicBezTo>
                    <a:pt x="3365" y="610"/>
                    <a:pt x="3365" y="610"/>
                    <a:pt x="3365" y="610"/>
                  </a:cubicBezTo>
                  <a:cubicBezTo>
                    <a:pt x="2987" y="610"/>
                    <a:pt x="2987" y="610"/>
                    <a:pt x="2987" y="610"/>
                  </a:cubicBezTo>
                  <a:cubicBezTo>
                    <a:pt x="2996" y="731"/>
                    <a:pt x="2999" y="867"/>
                    <a:pt x="2999" y="1074"/>
                  </a:cubicBezTo>
                  <a:lnTo>
                    <a:pt x="2999" y="2018"/>
                  </a:lnTo>
                  <a:close/>
                  <a:moveTo>
                    <a:pt x="5213" y="1454"/>
                  </a:moveTo>
                  <a:cubicBezTo>
                    <a:pt x="5218" y="1422"/>
                    <a:pt x="5227" y="1356"/>
                    <a:pt x="5227" y="1281"/>
                  </a:cubicBezTo>
                  <a:cubicBezTo>
                    <a:pt x="5227" y="933"/>
                    <a:pt x="5053" y="579"/>
                    <a:pt x="4594" y="579"/>
                  </a:cubicBezTo>
                  <a:cubicBezTo>
                    <a:pt x="4103" y="579"/>
                    <a:pt x="3876" y="973"/>
                    <a:pt x="3876" y="1330"/>
                  </a:cubicBezTo>
                  <a:cubicBezTo>
                    <a:pt x="3876" y="1770"/>
                    <a:pt x="4152" y="2047"/>
                    <a:pt x="4634" y="2047"/>
                  </a:cubicBezTo>
                  <a:cubicBezTo>
                    <a:pt x="4826" y="2047"/>
                    <a:pt x="5003" y="2018"/>
                    <a:pt x="5149" y="1958"/>
                  </a:cubicBezTo>
                  <a:cubicBezTo>
                    <a:pt x="5091" y="1661"/>
                    <a:pt x="5091" y="1661"/>
                    <a:pt x="5091" y="1661"/>
                  </a:cubicBezTo>
                  <a:cubicBezTo>
                    <a:pt x="4971" y="1701"/>
                    <a:pt x="4849" y="1722"/>
                    <a:pt x="4698" y="1722"/>
                  </a:cubicBezTo>
                  <a:cubicBezTo>
                    <a:pt x="4492" y="1722"/>
                    <a:pt x="4312" y="1635"/>
                    <a:pt x="4297" y="1454"/>
                  </a:cubicBezTo>
                  <a:lnTo>
                    <a:pt x="5213" y="1454"/>
                  </a:lnTo>
                  <a:close/>
                  <a:moveTo>
                    <a:pt x="4294" y="1154"/>
                  </a:moveTo>
                  <a:cubicBezTo>
                    <a:pt x="4306" y="1039"/>
                    <a:pt x="4382" y="870"/>
                    <a:pt x="4570" y="870"/>
                  </a:cubicBezTo>
                  <a:cubicBezTo>
                    <a:pt x="4771" y="870"/>
                    <a:pt x="4817" y="1048"/>
                    <a:pt x="4817" y="1154"/>
                  </a:cubicBezTo>
                  <a:lnTo>
                    <a:pt x="4294" y="1154"/>
                  </a:lnTo>
                  <a:close/>
                  <a:moveTo>
                    <a:pt x="5303" y="2018"/>
                  </a:moveTo>
                  <a:cubicBezTo>
                    <a:pt x="5733" y="2018"/>
                    <a:pt x="5733" y="2018"/>
                    <a:pt x="5733" y="2018"/>
                  </a:cubicBezTo>
                  <a:cubicBezTo>
                    <a:pt x="5733" y="1201"/>
                    <a:pt x="5733" y="1201"/>
                    <a:pt x="5733" y="1201"/>
                  </a:cubicBezTo>
                  <a:cubicBezTo>
                    <a:pt x="5733" y="1163"/>
                    <a:pt x="5736" y="1123"/>
                    <a:pt x="5750" y="1088"/>
                  </a:cubicBezTo>
                  <a:cubicBezTo>
                    <a:pt x="5776" y="1019"/>
                    <a:pt x="5843" y="933"/>
                    <a:pt x="5956" y="933"/>
                  </a:cubicBezTo>
                  <a:cubicBezTo>
                    <a:pt x="6099" y="933"/>
                    <a:pt x="6163" y="1054"/>
                    <a:pt x="6163" y="1229"/>
                  </a:cubicBezTo>
                  <a:cubicBezTo>
                    <a:pt x="6163" y="2018"/>
                    <a:pt x="6163" y="2018"/>
                    <a:pt x="6163" y="2018"/>
                  </a:cubicBezTo>
                  <a:cubicBezTo>
                    <a:pt x="6593" y="2018"/>
                    <a:pt x="6593" y="2018"/>
                    <a:pt x="6593" y="2018"/>
                  </a:cubicBezTo>
                  <a:cubicBezTo>
                    <a:pt x="6593" y="1195"/>
                    <a:pt x="6593" y="1195"/>
                    <a:pt x="6593" y="1195"/>
                  </a:cubicBezTo>
                  <a:cubicBezTo>
                    <a:pt x="6593" y="1160"/>
                    <a:pt x="6598" y="1117"/>
                    <a:pt x="6607" y="1085"/>
                  </a:cubicBezTo>
                  <a:cubicBezTo>
                    <a:pt x="6639" y="1002"/>
                    <a:pt x="6709" y="933"/>
                    <a:pt x="6813" y="933"/>
                  </a:cubicBezTo>
                  <a:cubicBezTo>
                    <a:pt x="6956" y="933"/>
                    <a:pt x="7023" y="1051"/>
                    <a:pt x="7023" y="1255"/>
                  </a:cubicBezTo>
                  <a:cubicBezTo>
                    <a:pt x="7023" y="2018"/>
                    <a:pt x="7023" y="2018"/>
                    <a:pt x="7023" y="2018"/>
                  </a:cubicBezTo>
                  <a:cubicBezTo>
                    <a:pt x="7453" y="2018"/>
                    <a:pt x="7453" y="2018"/>
                    <a:pt x="7453" y="2018"/>
                  </a:cubicBezTo>
                  <a:cubicBezTo>
                    <a:pt x="7453" y="1189"/>
                    <a:pt x="7453" y="1189"/>
                    <a:pt x="7453" y="1189"/>
                  </a:cubicBezTo>
                  <a:cubicBezTo>
                    <a:pt x="7453" y="769"/>
                    <a:pt x="7246" y="579"/>
                    <a:pt x="6973" y="579"/>
                  </a:cubicBezTo>
                  <a:cubicBezTo>
                    <a:pt x="6869" y="579"/>
                    <a:pt x="6781" y="605"/>
                    <a:pt x="6703" y="648"/>
                  </a:cubicBezTo>
                  <a:cubicBezTo>
                    <a:pt x="6633" y="688"/>
                    <a:pt x="6572" y="746"/>
                    <a:pt x="6517" y="821"/>
                  </a:cubicBezTo>
                  <a:cubicBezTo>
                    <a:pt x="6511" y="821"/>
                    <a:pt x="6511" y="821"/>
                    <a:pt x="6511" y="821"/>
                  </a:cubicBezTo>
                  <a:cubicBezTo>
                    <a:pt x="6450" y="674"/>
                    <a:pt x="6308" y="579"/>
                    <a:pt x="6122" y="579"/>
                  </a:cubicBezTo>
                  <a:cubicBezTo>
                    <a:pt x="5881" y="579"/>
                    <a:pt x="5753" y="711"/>
                    <a:pt x="5692" y="803"/>
                  </a:cubicBezTo>
                  <a:cubicBezTo>
                    <a:pt x="5683" y="803"/>
                    <a:pt x="5683" y="803"/>
                    <a:pt x="5683" y="803"/>
                  </a:cubicBezTo>
                  <a:cubicBezTo>
                    <a:pt x="5666" y="610"/>
                    <a:pt x="5666" y="610"/>
                    <a:pt x="5666" y="610"/>
                  </a:cubicBezTo>
                  <a:cubicBezTo>
                    <a:pt x="5291" y="610"/>
                    <a:pt x="5291" y="610"/>
                    <a:pt x="5291" y="610"/>
                  </a:cubicBezTo>
                  <a:cubicBezTo>
                    <a:pt x="5297" y="737"/>
                    <a:pt x="5303" y="884"/>
                    <a:pt x="5303" y="1060"/>
                  </a:cubicBezTo>
                  <a:lnTo>
                    <a:pt x="5303" y="2018"/>
                  </a:lnTo>
                  <a:close/>
                  <a:moveTo>
                    <a:pt x="8010" y="610"/>
                  </a:moveTo>
                  <a:cubicBezTo>
                    <a:pt x="7569" y="610"/>
                    <a:pt x="7569" y="610"/>
                    <a:pt x="7569" y="610"/>
                  </a:cubicBezTo>
                  <a:cubicBezTo>
                    <a:pt x="7569" y="2018"/>
                    <a:pt x="7569" y="2018"/>
                    <a:pt x="7569" y="2018"/>
                  </a:cubicBezTo>
                  <a:cubicBezTo>
                    <a:pt x="8010" y="2018"/>
                    <a:pt x="8010" y="2018"/>
                    <a:pt x="8010" y="2018"/>
                  </a:cubicBezTo>
                  <a:lnTo>
                    <a:pt x="8010" y="610"/>
                  </a:lnTo>
                  <a:close/>
                  <a:moveTo>
                    <a:pt x="7790" y="438"/>
                  </a:moveTo>
                  <a:cubicBezTo>
                    <a:pt x="7935" y="438"/>
                    <a:pt x="8025" y="340"/>
                    <a:pt x="8025" y="219"/>
                  </a:cubicBezTo>
                  <a:cubicBezTo>
                    <a:pt x="8022" y="95"/>
                    <a:pt x="7935" y="0"/>
                    <a:pt x="7792" y="0"/>
                  </a:cubicBezTo>
                  <a:cubicBezTo>
                    <a:pt x="7650" y="0"/>
                    <a:pt x="7557" y="95"/>
                    <a:pt x="7557" y="219"/>
                  </a:cubicBezTo>
                  <a:cubicBezTo>
                    <a:pt x="7557" y="340"/>
                    <a:pt x="7647" y="438"/>
                    <a:pt x="7787" y="438"/>
                  </a:cubicBezTo>
                  <a:lnTo>
                    <a:pt x="7790" y="438"/>
                  </a:lnTo>
                  <a:close/>
                  <a:moveTo>
                    <a:pt x="8095" y="1946"/>
                  </a:moveTo>
                  <a:cubicBezTo>
                    <a:pt x="8202" y="2004"/>
                    <a:pt x="8368" y="2047"/>
                    <a:pt x="8554" y="2047"/>
                  </a:cubicBezTo>
                  <a:cubicBezTo>
                    <a:pt x="8960" y="2047"/>
                    <a:pt x="9167" y="1854"/>
                    <a:pt x="9167" y="1589"/>
                  </a:cubicBezTo>
                  <a:cubicBezTo>
                    <a:pt x="9164" y="1385"/>
                    <a:pt x="9053" y="1249"/>
                    <a:pt x="8783" y="1157"/>
                  </a:cubicBezTo>
                  <a:cubicBezTo>
                    <a:pt x="8609" y="1100"/>
                    <a:pt x="8554" y="1062"/>
                    <a:pt x="8554" y="996"/>
                  </a:cubicBezTo>
                  <a:cubicBezTo>
                    <a:pt x="8554" y="927"/>
                    <a:pt x="8615" y="884"/>
                    <a:pt x="8722" y="884"/>
                  </a:cubicBezTo>
                  <a:cubicBezTo>
                    <a:pt x="8841" y="884"/>
                    <a:pt x="8966" y="930"/>
                    <a:pt x="9030" y="962"/>
                  </a:cubicBezTo>
                  <a:cubicBezTo>
                    <a:pt x="9106" y="662"/>
                    <a:pt x="9106" y="662"/>
                    <a:pt x="9106" y="662"/>
                  </a:cubicBezTo>
                  <a:cubicBezTo>
                    <a:pt x="9018" y="619"/>
                    <a:pt x="8873" y="579"/>
                    <a:pt x="8708" y="579"/>
                  </a:cubicBezTo>
                  <a:cubicBezTo>
                    <a:pt x="8356" y="579"/>
                    <a:pt x="8129" y="777"/>
                    <a:pt x="8129" y="1042"/>
                  </a:cubicBezTo>
                  <a:cubicBezTo>
                    <a:pt x="8127" y="1206"/>
                    <a:pt x="8240" y="1365"/>
                    <a:pt x="8536" y="1462"/>
                  </a:cubicBezTo>
                  <a:cubicBezTo>
                    <a:pt x="8699" y="1514"/>
                    <a:pt x="8742" y="1552"/>
                    <a:pt x="8742" y="1624"/>
                  </a:cubicBezTo>
                  <a:cubicBezTo>
                    <a:pt x="8742" y="1696"/>
                    <a:pt x="8687" y="1739"/>
                    <a:pt x="8554" y="1739"/>
                  </a:cubicBezTo>
                  <a:cubicBezTo>
                    <a:pt x="8423" y="1739"/>
                    <a:pt x="8254" y="1684"/>
                    <a:pt x="8173" y="1635"/>
                  </a:cubicBezTo>
                  <a:lnTo>
                    <a:pt x="8095" y="19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4BE6E7A-968D-8C6F-B3CE-EEACD1E8374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64" y="1019"/>
              <a:ext cx="396" cy="381"/>
            </a:xfrm>
            <a:custGeom>
              <a:avLst/>
              <a:gdLst>
                <a:gd name="T0" fmla="*/ 297 w 674"/>
                <a:gd name="T1" fmla="*/ 369 h 649"/>
                <a:gd name="T2" fmla="*/ 327 w 674"/>
                <a:gd name="T3" fmla="*/ 369 h 649"/>
                <a:gd name="T4" fmla="*/ 378 w 674"/>
                <a:gd name="T5" fmla="*/ 412 h 649"/>
                <a:gd name="T6" fmla="*/ 401 w 674"/>
                <a:gd name="T7" fmla="*/ 476 h 649"/>
                <a:gd name="T8" fmla="*/ 504 w 674"/>
                <a:gd name="T9" fmla="*/ 476 h 649"/>
                <a:gd name="T10" fmla="*/ 483 w 674"/>
                <a:gd name="T11" fmla="*/ 405 h 649"/>
                <a:gd name="T12" fmla="*/ 422 w 674"/>
                <a:gd name="T13" fmla="*/ 330 h 649"/>
                <a:gd name="T14" fmla="*/ 422 w 674"/>
                <a:gd name="T15" fmla="*/ 326 h 649"/>
                <a:gd name="T16" fmla="*/ 490 w 674"/>
                <a:gd name="T17" fmla="*/ 258 h 649"/>
                <a:gd name="T18" fmla="*/ 458 w 674"/>
                <a:gd name="T19" fmla="*/ 194 h 649"/>
                <a:gd name="T20" fmla="*/ 336 w 674"/>
                <a:gd name="T21" fmla="*/ 170 h 649"/>
                <a:gd name="T22" fmla="*/ 202 w 674"/>
                <a:gd name="T23" fmla="*/ 181 h 649"/>
                <a:gd name="T24" fmla="*/ 202 w 674"/>
                <a:gd name="T25" fmla="*/ 476 h 649"/>
                <a:gd name="T26" fmla="*/ 297 w 674"/>
                <a:gd name="T27" fmla="*/ 476 h 649"/>
                <a:gd name="T28" fmla="*/ 297 w 674"/>
                <a:gd name="T29" fmla="*/ 369 h 649"/>
                <a:gd name="T30" fmla="*/ 298 w 674"/>
                <a:gd name="T31" fmla="*/ 236 h 649"/>
                <a:gd name="T32" fmla="*/ 331 w 674"/>
                <a:gd name="T33" fmla="*/ 234 h 649"/>
                <a:gd name="T34" fmla="*/ 384 w 674"/>
                <a:gd name="T35" fmla="*/ 271 h 649"/>
                <a:gd name="T36" fmla="*/ 327 w 674"/>
                <a:gd name="T37" fmla="*/ 307 h 649"/>
                <a:gd name="T38" fmla="*/ 298 w 674"/>
                <a:gd name="T39" fmla="*/ 307 h 649"/>
                <a:gd name="T40" fmla="*/ 298 w 674"/>
                <a:gd name="T41" fmla="*/ 236 h 649"/>
                <a:gd name="T42" fmla="*/ 338 w 674"/>
                <a:gd name="T43" fmla="*/ 0 h 649"/>
                <a:gd name="T44" fmla="*/ 0 w 674"/>
                <a:gd name="T45" fmla="*/ 324 h 649"/>
                <a:gd name="T46" fmla="*/ 338 w 674"/>
                <a:gd name="T47" fmla="*/ 649 h 649"/>
                <a:gd name="T48" fmla="*/ 674 w 674"/>
                <a:gd name="T49" fmla="*/ 324 h 649"/>
                <a:gd name="T50" fmla="*/ 340 w 674"/>
                <a:gd name="T51" fmla="*/ 0 h 649"/>
                <a:gd name="T52" fmla="*/ 338 w 674"/>
                <a:gd name="T53" fmla="*/ 0 h 649"/>
                <a:gd name="T54" fmla="*/ 336 w 674"/>
                <a:gd name="T55" fmla="*/ 81 h 649"/>
                <a:gd name="T56" fmla="*/ 576 w 674"/>
                <a:gd name="T57" fmla="*/ 324 h 649"/>
                <a:gd name="T58" fmla="*/ 338 w 674"/>
                <a:gd name="T59" fmla="*/ 568 h 649"/>
                <a:gd name="T60" fmla="*/ 101 w 674"/>
                <a:gd name="T61" fmla="*/ 326 h 649"/>
                <a:gd name="T62" fmla="*/ 335 w 674"/>
                <a:gd name="T63" fmla="*/ 81 h 649"/>
                <a:gd name="T64" fmla="*/ 336 w 674"/>
                <a:gd name="T65" fmla="*/ 81 h 6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4" h="649">
                  <a:moveTo>
                    <a:pt x="297" y="369"/>
                  </a:moveTo>
                  <a:cubicBezTo>
                    <a:pt x="327" y="369"/>
                    <a:pt x="327" y="369"/>
                    <a:pt x="327" y="369"/>
                  </a:cubicBezTo>
                  <a:cubicBezTo>
                    <a:pt x="357" y="369"/>
                    <a:pt x="373" y="382"/>
                    <a:pt x="378" y="412"/>
                  </a:cubicBezTo>
                  <a:cubicBezTo>
                    <a:pt x="386" y="441"/>
                    <a:pt x="391" y="465"/>
                    <a:pt x="401" y="476"/>
                  </a:cubicBezTo>
                  <a:cubicBezTo>
                    <a:pt x="504" y="476"/>
                    <a:pt x="504" y="476"/>
                    <a:pt x="504" y="476"/>
                  </a:cubicBezTo>
                  <a:cubicBezTo>
                    <a:pt x="498" y="467"/>
                    <a:pt x="492" y="448"/>
                    <a:pt x="483" y="405"/>
                  </a:cubicBezTo>
                  <a:cubicBezTo>
                    <a:pt x="473" y="363"/>
                    <a:pt x="454" y="339"/>
                    <a:pt x="422" y="330"/>
                  </a:cubicBezTo>
                  <a:cubicBezTo>
                    <a:pt x="422" y="326"/>
                    <a:pt x="422" y="326"/>
                    <a:pt x="422" y="326"/>
                  </a:cubicBezTo>
                  <a:cubicBezTo>
                    <a:pt x="462" y="315"/>
                    <a:pt x="490" y="288"/>
                    <a:pt x="490" y="258"/>
                  </a:cubicBezTo>
                  <a:cubicBezTo>
                    <a:pt x="490" y="228"/>
                    <a:pt x="477" y="205"/>
                    <a:pt x="458" y="194"/>
                  </a:cubicBezTo>
                  <a:cubicBezTo>
                    <a:pt x="435" y="179"/>
                    <a:pt x="407" y="170"/>
                    <a:pt x="336" y="170"/>
                  </a:cubicBezTo>
                  <a:cubicBezTo>
                    <a:pt x="274" y="170"/>
                    <a:pt x="223" y="177"/>
                    <a:pt x="202" y="181"/>
                  </a:cubicBezTo>
                  <a:cubicBezTo>
                    <a:pt x="202" y="476"/>
                    <a:pt x="202" y="476"/>
                    <a:pt x="202" y="476"/>
                  </a:cubicBezTo>
                  <a:cubicBezTo>
                    <a:pt x="297" y="476"/>
                    <a:pt x="297" y="476"/>
                    <a:pt x="297" y="476"/>
                  </a:cubicBezTo>
                  <a:lnTo>
                    <a:pt x="297" y="369"/>
                  </a:lnTo>
                  <a:close/>
                  <a:moveTo>
                    <a:pt x="298" y="236"/>
                  </a:moveTo>
                  <a:cubicBezTo>
                    <a:pt x="308" y="236"/>
                    <a:pt x="319" y="234"/>
                    <a:pt x="331" y="234"/>
                  </a:cubicBezTo>
                  <a:cubicBezTo>
                    <a:pt x="363" y="234"/>
                    <a:pt x="384" y="247"/>
                    <a:pt x="384" y="271"/>
                  </a:cubicBezTo>
                  <a:cubicBezTo>
                    <a:pt x="384" y="294"/>
                    <a:pt x="363" y="307"/>
                    <a:pt x="327" y="307"/>
                  </a:cubicBezTo>
                  <a:cubicBezTo>
                    <a:pt x="298" y="307"/>
                    <a:pt x="298" y="307"/>
                    <a:pt x="298" y="307"/>
                  </a:cubicBezTo>
                  <a:lnTo>
                    <a:pt x="298" y="236"/>
                  </a:lnTo>
                  <a:close/>
                  <a:moveTo>
                    <a:pt x="338" y="0"/>
                  </a:moveTo>
                  <a:cubicBezTo>
                    <a:pt x="150" y="0"/>
                    <a:pt x="0" y="145"/>
                    <a:pt x="0" y="324"/>
                  </a:cubicBezTo>
                  <a:cubicBezTo>
                    <a:pt x="0" y="504"/>
                    <a:pt x="150" y="649"/>
                    <a:pt x="338" y="649"/>
                  </a:cubicBezTo>
                  <a:cubicBezTo>
                    <a:pt x="528" y="649"/>
                    <a:pt x="674" y="504"/>
                    <a:pt x="674" y="324"/>
                  </a:cubicBezTo>
                  <a:cubicBezTo>
                    <a:pt x="674" y="145"/>
                    <a:pt x="528" y="0"/>
                    <a:pt x="340" y="0"/>
                  </a:cubicBezTo>
                  <a:lnTo>
                    <a:pt x="338" y="0"/>
                  </a:lnTo>
                  <a:close/>
                  <a:moveTo>
                    <a:pt x="336" y="81"/>
                  </a:moveTo>
                  <a:cubicBezTo>
                    <a:pt x="475" y="81"/>
                    <a:pt x="576" y="190"/>
                    <a:pt x="576" y="324"/>
                  </a:cubicBezTo>
                  <a:cubicBezTo>
                    <a:pt x="576" y="459"/>
                    <a:pt x="475" y="570"/>
                    <a:pt x="338" y="568"/>
                  </a:cubicBezTo>
                  <a:cubicBezTo>
                    <a:pt x="202" y="568"/>
                    <a:pt x="101" y="459"/>
                    <a:pt x="101" y="326"/>
                  </a:cubicBezTo>
                  <a:cubicBezTo>
                    <a:pt x="101" y="190"/>
                    <a:pt x="202" y="81"/>
                    <a:pt x="335" y="81"/>
                  </a:cubicBezTo>
                  <a:lnTo>
                    <a:pt x="336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</p:spTree>
    <p:extLst>
      <p:ext uri="{BB962C8B-B14F-4D97-AF65-F5344CB8AC3E}">
        <p14:creationId xmlns:p14="http://schemas.microsoft.com/office/powerpoint/2010/main" val="265098334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086C05-333B-3D02-A6F9-3ABE685B96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DAEBB0-7326-97E5-6C1B-B5BE648EC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74137D-8D28-4AC5-A866-9CBCD91A4B28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3954FB-BC77-5A70-DC6E-73162BBF2B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8AEC875-74FC-A335-4990-201D72F3D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D2A8939B-3D67-69D1-77D3-0695245AD1D3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557212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D0F1BCD0-38A8-0100-2BF6-50C41C4F459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4597989" y="129540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230E9C6D-904A-4D38-9ADC-A58963BCEB1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557213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E7C7B766-B8C7-F2B2-0D2E-4AAA971C4D46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4597990" y="2987950"/>
            <a:ext cx="3988800" cy="1645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r">
              <a:buNone/>
              <a:defRPr sz="1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l-NL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DDA867-40DF-B349-7647-38B271AC2BB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1978" y="141278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405027E0-3162-81BD-A3DB-F04FE16CD39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37228" y="141003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6BE7D8C3-1CF1-F719-8E01-5AD139F0BBD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1978" y="3105613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45B8FBF2-7C81-C544-3C52-FD7D4661C77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737228" y="3102858"/>
            <a:ext cx="1683610" cy="1426347"/>
          </a:xfrm>
        </p:spPr>
        <p:txBody>
          <a:bodyPr/>
          <a:lstStyle>
            <a:lvl1pPr>
              <a:defRPr sz="2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aptio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4143899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2543A9-3564-4F63-BA2E-A27814223C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2464006-E8BA-4F06-ACE6-66E06A378F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4CF9D1-3E0C-401B-867A-F8AD252C8ED0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502CCF8-6C26-4BD8-9654-40EBD91BB5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565A25-FB0A-4A6B-8F89-E5F5508D05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900794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96D0E49-6959-4E7A-882B-2EE5DF99BC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445AD-4EF6-4514-8678-EE756331A865}" type="datetime1">
              <a:rPr lang="en-GB" smtClean="0"/>
              <a:t>24/10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7CA0F2-4678-4BCA-B096-24D698DEC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3B8CE6-7B94-4BDF-8738-4A9B63A63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9773131"/>
      </p:ext>
    </p:extLst>
  </p:cSld>
  <p:clrMapOvr>
    <a:masterClrMapping/>
  </p:clrMapOvr>
  <p:transition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67049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D491BCA9-391F-483B-BB4E-4882B226BEAA}"/>
              </a:ext>
            </a:extLst>
          </p:cNvPr>
          <p:cNvPicPr>
            <a:picLocks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095"/>
            <a:ext cx="9144000" cy="5154595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B9ED9345-CA2D-4704-AE9E-B47053D2FD9A}"/>
              </a:ext>
            </a:extLst>
          </p:cNvPr>
          <p:cNvSpPr/>
          <p:nvPr/>
        </p:nvSpPr>
        <p:spPr>
          <a:xfrm>
            <a:off x="2691117" y="1796970"/>
            <a:ext cx="2847373" cy="3346531"/>
          </a:xfrm>
          <a:prstGeom prst="parallelogram">
            <a:avLst>
              <a:gd name="adj" fmla="val 81707"/>
            </a:avLst>
          </a:pr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2055C9EC-1AA1-41E1-8A5C-2BA6AECC5F9D}"/>
              </a:ext>
            </a:extLst>
          </p:cNvPr>
          <p:cNvSpPr>
            <a:spLocks/>
          </p:cNvSpPr>
          <p:nvPr/>
        </p:nvSpPr>
        <p:spPr>
          <a:xfrm>
            <a:off x="0" y="-11095"/>
            <a:ext cx="6278880" cy="5154595"/>
          </a:xfrm>
          <a:custGeom>
            <a:avLst/>
            <a:gdLst>
              <a:gd name="connsiteX0" fmla="*/ 0 w 8371840"/>
              <a:gd name="connsiteY0" fmla="*/ 0 h 6872793"/>
              <a:gd name="connsiteX1" fmla="*/ 3190240 w 8371840"/>
              <a:gd name="connsiteY1" fmla="*/ 0 h 6872793"/>
              <a:gd name="connsiteX2" fmla="*/ 4322885 w 8371840"/>
              <a:gd name="connsiteY2" fmla="*/ 0 h 6872793"/>
              <a:gd name="connsiteX3" fmla="*/ 4541520 w 8371840"/>
              <a:gd name="connsiteY3" fmla="*/ 0 h 6872793"/>
              <a:gd name="connsiteX4" fmla="*/ 8371840 w 8371840"/>
              <a:gd name="connsiteY4" fmla="*/ 0 h 6872793"/>
              <a:gd name="connsiteX5" fmla="*/ 3601915 w 8371840"/>
              <a:gd name="connsiteY5" fmla="*/ 6872793 h 6872793"/>
              <a:gd name="connsiteX6" fmla="*/ 3190240 w 8371840"/>
              <a:gd name="connsiteY6" fmla="*/ 6872793 h 6872793"/>
              <a:gd name="connsiteX7" fmla="*/ 0 w 8371840"/>
              <a:gd name="connsiteY7" fmla="*/ 6872793 h 6872793"/>
              <a:gd name="connsiteX8" fmla="*/ 0 w 8371840"/>
              <a:gd name="connsiteY8" fmla="*/ 6228671 h 6872793"/>
              <a:gd name="connsiteX9" fmla="*/ 0 w 8371840"/>
              <a:gd name="connsiteY9" fmla="*/ 670113 h 68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71840" h="6872793">
                <a:moveTo>
                  <a:pt x="0" y="0"/>
                </a:moveTo>
                <a:lnTo>
                  <a:pt x="3190240" y="0"/>
                </a:lnTo>
                <a:lnTo>
                  <a:pt x="4322885" y="0"/>
                </a:lnTo>
                <a:lnTo>
                  <a:pt x="4541520" y="0"/>
                </a:lnTo>
                <a:lnTo>
                  <a:pt x="8371840" y="0"/>
                </a:lnTo>
                <a:lnTo>
                  <a:pt x="3601915" y="6872793"/>
                </a:lnTo>
                <a:lnTo>
                  <a:pt x="3190240" y="6872793"/>
                </a:lnTo>
                <a:lnTo>
                  <a:pt x="0" y="6872793"/>
                </a:lnTo>
                <a:lnTo>
                  <a:pt x="0" y="6228671"/>
                </a:lnTo>
                <a:lnTo>
                  <a:pt x="0" y="670113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accent2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accent2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FEE4321-5108-4DE1-B1A8-DCCE41936D95}"/>
              </a:ext>
            </a:extLst>
          </p:cNvPr>
          <p:cNvGrpSpPr/>
          <p:nvPr/>
        </p:nvGrpSpPr>
        <p:grpSpPr>
          <a:xfrm>
            <a:off x="575780" y="601981"/>
            <a:ext cx="1931436" cy="246380"/>
            <a:chOff x="767706" y="802641"/>
            <a:chExt cx="2575248" cy="328506"/>
          </a:xfrm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67706" y="808507"/>
              <a:ext cx="305041" cy="313841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37550" y="808507"/>
              <a:ext cx="375435" cy="313841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83654" y="808507"/>
              <a:ext cx="302109" cy="313841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653497" y="808507"/>
              <a:ext cx="372503" cy="313841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169720" y="802641"/>
              <a:ext cx="205316" cy="328506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389701" y="808507"/>
              <a:ext cx="240513" cy="31970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911790" y="808507"/>
              <a:ext cx="190651" cy="31970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3155237" y="808507"/>
              <a:ext cx="187717" cy="31970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2668345" y="808507"/>
              <a:ext cx="193584" cy="31970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8" name="Freeform: Shape 57">
            <a:extLst>
              <a:ext uri="{FF2B5EF4-FFF2-40B4-BE49-F238E27FC236}">
                <a16:creationId xmlns:a16="http://schemas.microsoft.com/office/drawing/2014/main" id="{78879DAC-AE22-4E4F-9A58-F9A382AE317A}"/>
              </a:ext>
            </a:extLst>
          </p:cNvPr>
          <p:cNvSpPr/>
          <p:nvPr/>
        </p:nvSpPr>
        <p:spPr>
          <a:xfrm>
            <a:off x="8108068" y="3653376"/>
            <a:ext cx="1035932" cy="1490124"/>
          </a:xfrm>
          <a:custGeom>
            <a:avLst/>
            <a:gdLst>
              <a:gd name="connsiteX0" fmla="*/ 1381243 w 1381243"/>
              <a:gd name="connsiteY0" fmla="*/ 0 h 1986832"/>
              <a:gd name="connsiteX1" fmla="*/ 1381243 w 1381243"/>
              <a:gd name="connsiteY1" fmla="*/ 998985 h 1986832"/>
              <a:gd name="connsiteX2" fmla="*/ 1366393 w 1381243"/>
              <a:gd name="connsiteY2" fmla="*/ 1020346 h 1986832"/>
              <a:gd name="connsiteX3" fmla="*/ 1381243 w 1381243"/>
              <a:gd name="connsiteY3" fmla="*/ 1020346 h 1986832"/>
              <a:gd name="connsiteX4" fmla="*/ 1381243 w 1381243"/>
              <a:gd name="connsiteY4" fmla="*/ 1691678 h 1986832"/>
              <a:gd name="connsiteX5" fmla="*/ 1381243 w 1381243"/>
              <a:gd name="connsiteY5" fmla="*/ 1986832 h 1986832"/>
              <a:gd name="connsiteX6" fmla="*/ 694493 w 1381243"/>
              <a:gd name="connsiteY6" fmla="*/ 1986832 h 1986832"/>
              <a:gd name="connsiteX7" fmla="*/ 659754 w 1381243"/>
              <a:gd name="connsiteY7" fmla="*/ 1986832 h 1986832"/>
              <a:gd name="connsiteX8" fmla="*/ 0 w 1381243"/>
              <a:gd name="connsiteY8" fmla="*/ 1986832 h 1986832"/>
              <a:gd name="connsiteX9" fmla="*/ 659754 w 1381243"/>
              <a:gd name="connsiteY9" fmla="*/ 1037817 h 1986832"/>
              <a:gd name="connsiteX10" fmla="*/ 659754 w 1381243"/>
              <a:gd name="connsiteY10" fmla="*/ 1020346 h 1986832"/>
              <a:gd name="connsiteX11" fmla="*/ 671900 w 1381243"/>
              <a:gd name="connsiteY11" fmla="*/ 1020346 h 1986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1243" h="1986832">
                <a:moveTo>
                  <a:pt x="1381243" y="0"/>
                </a:moveTo>
                <a:lnTo>
                  <a:pt x="1381243" y="998985"/>
                </a:lnTo>
                <a:lnTo>
                  <a:pt x="1366393" y="1020346"/>
                </a:lnTo>
                <a:lnTo>
                  <a:pt x="1381243" y="1020346"/>
                </a:lnTo>
                <a:lnTo>
                  <a:pt x="1381243" y="1691678"/>
                </a:lnTo>
                <a:lnTo>
                  <a:pt x="1381243" y="1986832"/>
                </a:lnTo>
                <a:lnTo>
                  <a:pt x="694493" y="1986832"/>
                </a:lnTo>
                <a:lnTo>
                  <a:pt x="659754" y="1986832"/>
                </a:lnTo>
                <a:lnTo>
                  <a:pt x="0" y="1986832"/>
                </a:lnTo>
                <a:lnTo>
                  <a:pt x="659754" y="1037817"/>
                </a:lnTo>
                <a:lnTo>
                  <a:pt x="659754" y="1020346"/>
                </a:lnTo>
                <a:lnTo>
                  <a:pt x="671900" y="1020346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8000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6038620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Picture 30">
            <a:extLst>
              <a:ext uri="{FF2B5EF4-FFF2-40B4-BE49-F238E27FC236}">
                <a16:creationId xmlns:a16="http://schemas.microsoft.com/office/drawing/2014/main" id="{D491BCA9-391F-483B-BB4E-4882B226BEAA}"/>
              </a:ext>
            </a:extLst>
          </p:cNvPr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1095"/>
            <a:ext cx="9144000" cy="5154595"/>
          </a:xfrm>
          <a:prstGeom prst="rect">
            <a:avLst/>
          </a:prstGeom>
        </p:spPr>
      </p:pic>
      <p:sp>
        <p:nvSpPr>
          <p:cNvPr id="20" name="Parallelogram 19">
            <a:extLst>
              <a:ext uri="{FF2B5EF4-FFF2-40B4-BE49-F238E27FC236}">
                <a16:creationId xmlns:a16="http://schemas.microsoft.com/office/drawing/2014/main" id="{8CFA502A-CC3C-40C6-A35E-45E4DA9AA783}"/>
              </a:ext>
            </a:extLst>
          </p:cNvPr>
          <p:cNvSpPr/>
          <p:nvPr/>
        </p:nvSpPr>
        <p:spPr>
          <a:xfrm>
            <a:off x="2691117" y="1796970"/>
            <a:ext cx="2847373" cy="3346531"/>
          </a:xfrm>
          <a:prstGeom prst="parallelogram">
            <a:avLst>
              <a:gd name="adj" fmla="val 81707"/>
            </a:avLst>
          </a:pr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4EF8545-382C-4830-BDB9-E967C5E1A58F}"/>
              </a:ext>
            </a:extLst>
          </p:cNvPr>
          <p:cNvSpPr/>
          <p:nvPr/>
        </p:nvSpPr>
        <p:spPr>
          <a:xfrm>
            <a:off x="8108068" y="3653376"/>
            <a:ext cx="1035932" cy="1490124"/>
          </a:xfrm>
          <a:custGeom>
            <a:avLst/>
            <a:gdLst>
              <a:gd name="connsiteX0" fmla="*/ 1381243 w 1381243"/>
              <a:gd name="connsiteY0" fmla="*/ 0 h 1986832"/>
              <a:gd name="connsiteX1" fmla="*/ 1381243 w 1381243"/>
              <a:gd name="connsiteY1" fmla="*/ 998985 h 1986832"/>
              <a:gd name="connsiteX2" fmla="*/ 1366393 w 1381243"/>
              <a:gd name="connsiteY2" fmla="*/ 1020346 h 1986832"/>
              <a:gd name="connsiteX3" fmla="*/ 1381243 w 1381243"/>
              <a:gd name="connsiteY3" fmla="*/ 1020346 h 1986832"/>
              <a:gd name="connsiteX4" fmla="*/ 1381243 w 1381243"/>
              <a:gd name="connsiteY4" fmla="*/ 1691678 h 1986832"/>
              <a:gd name="connsiteX5" fmla="*/ 1381243 w 1381243"/>
              <a:gd name="connsiteY5" fmla="*/ 1986832 h 1986832"/>
              <a:gd name="connsiteX6" fmla="*/ 694493 w 1381243"/>
              <a:gd name="connsiteY6" fmla="*/ 1986832 h 1986832"/>
              <a:gd name="connsiteX7" fmla="*/ 659754 w 1381243"/>
              <a:gd name="connsiteY7" fmla="*/ 1986832 h 1986832"/>
              <a:gd name="connsiteX8" fmla="*/ 0 w 1381243"/>
              <a:gd name="connsiteY8" fmla="*/ 1986832 h 1986832"/>
              <a:gd name="connsiteX9" fmla="*/ 659754 w 1381243"/>
              <a:gd name="connsiteY9" fmla="*/ 1037817 h 1986832"/>
              <a:gd name="connsiteX10" fmla="*/ 659754 w 1381243"/>
              <a:gd name="connsiteY10" fmla="*/ 1020346 h 1986832"/>
              <a:gd name="connsiteX11" fmla="*/ 671900 w 1381243"/>
              <a:gd name="connsiteY11" fmla="*/ 1020346 h 1986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81243" h="1986832">
                <a:moveTo>
                  <a:pt x="1381243" y="0"/>
                </a:moveTo>
                <a:lnTo>
                  <a:pt x="1381243" y="998985"/>
                </a:lnTo>
                <a:lnTo>
                  <a:pt x="1366393" y="1020346"/>
                </a:lnTo>
                <a:lnTo>
                  <a:pt x="1381243" y="1020346"/>
                </a:lnTo>
                <a:lnTo>
                  <a:pt x="1381243" y="1691678"/>
                </a:lnTo>
                <a:lnTo>
                  <a:pt x="1381243" y="1986832"/>
                </a:lnTo>
                <a:lnTo>
                  <a:pt x="694493" y="1986832"/>
                </a:lnTo>
                <a:lnTo>
                  <a:pt x="659754" y="1986832"/>
                </a:lnTo>
                <a:lnTo>
                  <a:pt x="0" y="1986832"/>
                </a:lnTo>
                <a:lnTo>
                  <a:pt x="659754" y="1037817"/>
                </a:lnTo>
                <a:lnTo>
                  <a:pt x="659754" y="1020346"/>
                </a:lnTo>
                <a:lnTo>
                  <a:pt x="671900" y="1020346"/>
                </a:lnTo>
                <a:close/>
              </a:path>
            </a:pathLst>
          </a:custGeom>
          <a:solidFill>
            <a:schemeClr val="bg1">
              <a:alpha val="35000"/>
            </a:schemeClr>
          </a:solidFill>
          <a:ln w="6350" cap="sq">
            <a:noFill/>
            <a:miter lim="800000"/>
          </a:ln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2055C9EC-1AA1-41E1-8A5C-2BA6AECC5F9D}"/>
              </a:ext>
            </a:extLst>
          </p:cNvPr>
          <p:cNvSpPr>
            <a:spLocks/>
          </p:cNvSpPr>
          <p:nvPr/>
        </p:nvSpPr>
        <p:spPr>
          <a:xfrm>
            <a:off x="0" y="-11095"/>
            <a:ext cx="6278880" cy="5154595"/>
          </a:xfrm>
          <a:custGeom>
            <a:avLst/>
            <a:gdLst>
              <a:gd name="connsiteX0" fmla="*/ 0 w 8371840"/>
              <a:gd name="connsiteY0" fmla="*/ 0 h 6872793"/>
              <a:gd name="connsiteX1" fmla="*/ 3190240 w 8371840"/>
              <a:gd name="connsiteY1" fmla="*/ 0 h 6872793"/>
              <a:gd name="connsiteX2" fmla="*/ 4322885 w 8371840"/>
              <a:gd name="connsiteY2" fmla="*/ 0 h 6872793"/>
              <a:gd name="connsiteX3" fmla="*/ 4541520 w 8371840"/>
              <a:gd name="connsiteY3" fmla="*/ 0 h 6872793"/>
              <a:gd name="connsiteX4" fmla="*/ 8371840 w 8371840"/>
              <a:gd name="connsiteY4" fmla="*/ 0 h 6872793"/>
              <a:gd name="connsiteX5" fmla="*/ 3601915 w 8371840"/>
              <a:gd name="connsiteY5" fmla="*/ 6872793 h 6872793"/>
              <a:gd name="connsiteX6" fmla="*/ 3190240 w 8371840"/>
              <a:gd name="connsiteY6" fmla="*/ 6872793 h 6872793"/>
              <a:gd name="connsiteX7" fmla="*/ 0 w 8371840"/>
              <a:gd name="connsiteY7" fmla="*/ 6872793 h 6872793"/>
              <a:gd name="connsiteX8" fmla="*/ 0 w 8371840"/>
              <a:gd name="connsiteY8" fmla="*/ 6228671 h 6872793"/>
              <a:gd name="connsiteX9" fmla="*/ 0 w 8371840"/>
              <a:gd name="connsiteY9" fmla="*/ 670113 h 68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371840" h="6872793">
                <a:moveTo>
                  <a:pt x="0" y="0"/>
                </a:moveTo>
                <a:lnTo>
                  <a:pt x="3190240" y="0"/>
                </a:lnTo>
                <a:lnTo>
                  <a:pt x="4322885" y="0"/>
                </a:lnTo>
                <a:lnTo>
                  <a:pt x="4541520" y="0"/>
                </a:lnTo>
                <a:lnTo>
                  <a:pt x="8371840" y="0"/>
                </a:lnTo>
                <a:lnTo>
                  <a:pt x="3601915" y="6872793"/>
                </a:lnTo>
                <a:lnTo>
                  <a:pt x="3190240" y="6872793"/>
                </a:lnTo>
                <a:lnTo>
                  <a:pt x="0" y="6872793"/>
                </a:lnTo>
                <a:lnTo>
                  <a:pt x="0" y="6228671"/>
                </a:lnTo>
                <a:lnTo>
                  <a:pt x="0" y="670113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 w="6350" cap="sq">
            <a:noFill/>
            <a:miter lim="800000"/>
          </a:ln>
          <a:effectLst>
            <a:outerShdw blurRad="1397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91313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681241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1B51C1E-8BCE-4A1A-8969-5312CD5A37F3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7628E606-35FB-499D-B7DA-B267BF26D911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5. Source" hidden="1">
            <a:extLst>
              <a:ext uri="{FF2B5EF4-FFF2-40B4-BE49-F238E27FC236}">
                <a16:creationId xmlns:a16="http://schemas.microsoft.com/office/drawing/2014/main" id="{A13E88DB-7F57-4EB1-9EA5-A7D77B625623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74469922-5D3C-47CF-B1C9-AF7BB0EC4543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Tek">
            <a:extLst>
              <a:ext uri="{FF2B5EF4-FFF2-40B4-BE49-F238E27FC236}">
                <a16:creationId xmlns:a16="http://schemas.microsoft.com/office/drawing/2014/main" id="{FEB02853-68A7-4147-9F2E-263A1E6071C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F50B632-AAB4-47DA-8321-3DA806EDDA5A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D7BF1BE0-F3D5-4352-8839-C833B5C264AD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5. Source" hidden="1">
            <a:extLst>
              <a:ext uri="{FF2B5EF4-FFF2-40B4-BE49-F238E27FC236}">
                <a16:creationId xmlns:a16="http://schemas.microsoft.com/office/drawing/2014/main" id="{6D8C5290-49E5-4EBD-9451-B46D09DFA97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E2085CB0-8A54-4DBC-842E-5B2B4B85A409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82358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46142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9DEE68A-A42A-4D17-A379-ED579B52EDA0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AAB638B2-6128-4AF3-8A1B-B744D9F8FB94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2356BAA-FC1D-4D63-81A1-D7B54B8B4D55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1A537D71-75EF-4869-92B4-2CBFD398FB5F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2ABB7FF7-407B-4CF5-9E9A-D159C2E9D71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7065BF44-14C1-427A-93A0-145D1599E214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12840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657978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5DE1A113-A9BC-405F-A19B-9B9B7C43C03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1558C112-C8A7-4CE2-B016-99E85E67BE7A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B64EF1-4B17-4793-AA1C-44E8F989FBD2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k">
            <a:extLst>
              <a:ext uri="{FF2B5EF4-FFF2-40B4-BE49-F238E27FC236}">
                <a16:creationId xmlns:a16="http://schemas.microsoft.com/office/drawing/2014/main" id="{9882C7AE-0A1D-4812-960B-C69DFE091BE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74011D94-D3CE-4666-949E-883E4F905BFA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11ACAC9B-B379-424F-9030-19A4C92E44EC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4151C40-4961-45A2-A80D-ED610066035C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23512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63444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Rectangle 1" hidden="1">
            <a:extLst>
              <a:ext uri="{FF2B5EF4-FFF2-40B4-BE49-F238E27FC236}">
                <a16:creationId xmlns:a16="http://schemas.microsoft.com/office/drawing/2014/main" id="{D2C716B3-641D-48AD-A08B-09E2B860BF05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6703E90-31B0-498C-8203-EFFCE8990D2F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95DC51C3-4B5A-41E0-9A8C-7C0B5BA190B3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574F6739-B252-4246-BDC5-A7AF88CB98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11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5976476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65785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F9AEA462-8979-4B48-9938-1C123F810A13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00B15695-F6A2-4ED6-8DE4-AAB5F65A676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317F9591-6C2D-4453-ADA4-103E31401275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k">
            <a:extLst>
              <a:ext uri="{FF2B5EF4-FFF2-40B4-BE49-F238E27FC236}">
                <a16:creationId xmlns:a16="http://schemas.microsoft.com/office/drawing/2014/main" id="{441B69B0-8FAA-4F3F-99EE-A18ABFCD0971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10FD9CE1-3DEF-474F-9CDD-64B48463AD09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D57BE29B-078A-4035-B494-2AEAA0C873FF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37404FA4-6BF5-4DD7-ADAF-31DA31CB4D23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1376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7526290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92" imgH="591" progId="TCLayout.ActiveDocument.1">
                  <p:embed/>
                </p:oleObj>
              </mc:Choice>
              <mc:Fallback>
                <p:oleObj name="think-cell Slide" r:id="rId1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95A8779-EE38-4CC5-B935-9241392CD5CC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5C281048-9F77-4688-95E5-47CD165BDB31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B0F4E59-B367-4AAF-AB02-F834068C819E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k">
            <a:extLst>
              <a:ext uri="{FF2B5EF4-FFF2-40B4-BE49-F238E27FC236}">
                <a16:creationId xmlns:a16="http://schemas.microsoft.com/office/drawing/2014/main" id="{90DC6945-849B-4672-8326-C2A4F0705B7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78BCD1F0-D73C-47EE-A242-7C162912665D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270FA1B3-3F4D-4D54-97AA-5B7825551840}"/>
              </a:ext>
            </a:extLst>
          </p:cNvPr>
          <p:cNvSpPr txBox="1"/>
          <p:nvPr userDrawn="1">
            <p:custDataLst>
              <p:tags r:id="rId1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063E0F10-C49A-4C51-AF00-DEB36E9328ED}"/>
              </a:ext>
            </a:extLst>
          </p:cNvPr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01679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B45607-1D8C-A668-B1F5-2F29CE29DB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B2C349-115F-4AEF-AC5A-BDCF479345BD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FCB2E5-86C7-9775-27CA-EA349F2627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F587A27A-D98E-A6C1-6A3E-C9479BE23D3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8105C0F5-7513-AC49-C658-4A19BFE76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D18D3CF5-5CD3-5240-FCB8-0F190DADA4B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C645220B-1CC0-C4D0-C98E-7FAF1C9BF15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9D4D329B-0ABF-048D-1216-44647D36EB5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E1C21C8A-F76B-32EE-79A3-83D068BA349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473752BA-E012-B9D6-A692-97FDB46D8E5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45EC8D4E-E35B-101C-B3F1-5C69F803AB6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6" name="Picture Placeholder 6">
            <a:extLst>
              <a:ext uri="{FF2B5EF4-FFF2-40B4-BE49-F238E27FC236}">
                <a16:creationId xmlns:a16="http://schemas.microsoft.com/office/drawing/2014/main" id="{DBC1B2D4-75D2-8A6F-A9CD-E682C2CA05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0FDF33C6-F85F-42D9-3F5A-89C443DA1C7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CEDE81A5-BC5D-4978-E531-B3C9C64F4ED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20FDB80E-155E-E205-A362-C5902A52100E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749329BE-C2C0-F05D-9491-A450F40E48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EC19561C-5742-0F08-EBED-3B6C696E6EE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C3FEC34-E49D-C15C-2AF8-0AC7478175A5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30C34D52-260D-0B31-DA3E-87417DD829E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CBE273AC-049D-89BC-A7CD-256B1B52B0D2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64048E-EEFB-5282-C575-832A956D4D96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C5D0E3F-C2B6-A88D-3CCB-FADD373E6CE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8E8CB93-3942-ECB6-4315-23AD10C8E2D1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641CC785-132C-CBDC-4350-5615C09B5953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0" name="Picture Placeholder 6">
            <a:extLst>
              <a:ext uri="{FF2B5EF4-FFF2-40B4-BE49-F238E27FC236}">
                <a16:creationId xmlns:a16="http://schemas.microsoft.com/office/drawing/2014/main" id="{F5C5BAAD-2B1E-472A-0B66-1F8E4E424FFF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1" name="Picture Placeholder 6">
            <a:extLst>
              <a:ext uri="{FF2B5EF4-FFF2-40B4-BE49-F238E27FC236}">
                <a16:creationId xmlns:a16="http://schemas.microsoft.com/office/drawing/2014/main" id="{57C6C523-6A38-4445-3016-2AE26F8536E2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2" name="Picture Placeholder 6">
            <a:extLst>
              <a:ext uri="{FF2B5EF4-FFF2-40B4-BE49-F238E27FC236}">
                <a16:creationId xmlns:a16="http://schemas.microsoft.com/office/drawing/2014/main" id="{647FD871-CB13-8851-873A-ADD4C46CF8FC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CE55752A-496C-CDD7-6D26-9D54A5E70490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DE9295D3-F3C1-7BFC-8EEA-134EB6B71091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19FD1E1-BAF0-599A-150C-58C9B833D715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0A941859-9FC9-BCA9-FA07-BDA2613B87AA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3E27C6AF-58DF-1744-D55D-B3FD129DA9C6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584E8DF-46D6-59D7-3CDA-33EF09275124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23535F8-E196-0320-C972-A98C061BD36B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0" name="Picture Placeholder 6">
            <a:extLst>
              <a:ext uri="{FF2B5EF4-FFF2-40B4-BE49-F238E27FC236}">
                <a16:creationId xmlns:a16="http://schemas.microsoft.com/office/drawing/2014/main" id="{58514B64-7871-908E-048E-2C0DD6EC8E9F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17EF1C21-17D2-FD44-3502-BAFE419ADFC4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2" name="Picture Placeholder 6">
            <a:extLst>
              <a:ext uri="{FF2B5EF4-FFF2-40B4-BE49-F238E27FC236}">
                <a16:creationId xmlns:a16="http://schemas.microsoft.com/office/drawing/2014/main" id="{5E66DE85-A9C4-55DC-8F31-165DCD9293C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3" name="Picture Placeholder 6">
            <a:extLst>
              <a:ext uri="{FF2B5EF4-FFF2-40B4-BE49-F238E27FC236}">
                <a16:creationId xmlns:a16="http://schemas.microsoft.com/office/drawing/2014/main" id="{4902BA52-B36A-309A-C0F8-A0A1C27CF5B8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4" name="Picture Placeholder 6">
            <a:extLst>
              <a:ext uri="{FF2B5EF4-FFF2-40B4-BE49-F238E27FC236}">
                <a16:creationId xmlns:a16="http://schemas.microsoft.com/office/drawing/2014/main" id="{B4E1796E-F1E2-C954-9E19-0977694038BD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5" name="Picture Placeholder 6">
            <a:extLst>
              <a:ext uri="{FF2B5EF4-FFF2-40B4-BE49-F238E27FC236}">
                <a16:creationId xmlns:a16="http://schemas.microsoft.com/office/drawing/2014/main" id="{A8E70E80-66F8-00C0-F65C-9CDBF6EF5877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6" name="Picture Placeholder 6">
            <a:extLst>
              <a:ext uri="{FF2B5EF4-FFF2-40B4-BE49-F238E27FC236}">
                <a16:creationId xmlns:a16="http://schemas.microsoft.com/office/drawing/2014/main" id="{37084FAA-C18C-3252-C1E4-F34954C48DA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7" name="Picture Placeholder 6">
            <a:extLst>
              <a:ext uri="{FF2B5EF4-FFF2-40B4-BE49-F238E27FC236}">
                <a16:creationId xmlns:a16="http://schemas.microsoft.com/office/drawing/2014/main" id="{1FA65F4C-B295-B829-6016-8444C723646E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2533297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17725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CB826AE6-3311-43CC-92FD-D106FC4C1259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BD537BF5-FF93-47F8-91F6-83B7DE41359E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99A2BD0F-A71B-4D44-938D-852751E0B32E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CB04386A-EFEA-4992-A62F-E03FFC71F379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0C36775C-8C99-424E-957D-031E5F3AED74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60AF39D5-AE5E-464F-ACE9-58DD98F0A4C9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4128770" y="36613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00F0C788-EC4D-4717-B96B-A6F94A489216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617F6E8A-0BCD-4B89-87B4-A7AE647FFEE7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2A95F9E3-FC23-49F4-8FEC-0B9FE0F9420D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236102501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65339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813BFA36-1AD5-4E7E-BB33-572111BF59E4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RectangleLight">
            <a:extLst>
              <a:ext uri="{FF2B5EF4-FFF2-40B4-BE49-F238E27FC236}">
                <a16:creationId xmlns:a16="http://schemas.microsoft.com/office/drawing/2014/main" id="{B4D148A6-A6C1-437D-B6DF-E1FE08A9D0EA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1F86557A-8631-4E3E-8064-9BFCF1271487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42AEA457-31C4-4041-A854-8716E809AD64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76ABDC00-70F5-42A2-B8BD-6D2DA1CFAFE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D96081C7-E8A8-42C9-833B-0CD2DC1D2B00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FE22EECB-32DC-4475-BA1A-1D053AED0957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F46FAD72-D631-4D3F-A319-3392C8AB1C9C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5C63E636-D482-4922-92F7-9CA61BBDF164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91003866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334257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EA6C94F0-0CAA-429B-96BE-3ABA8FFD5226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35B911B2-6FFB-4655-A60B-350BE1167400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B3CA72-93D2-42FF-825F-83F41F83B6C1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82894E69-A14E-422E-A2AC-1E87B7738FF5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A004316F-4DDF-43EF-9C13-956DA9907341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8D892DEE-F063-4222-AD78-A6C9B5D34BA0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4EA5EA16-3C5B-43F2-9C18-58E7501DD4F9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32DD6222-1196-4ED1-A48F-FDDDAF4EBD48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0A85540C-382B-4773-9455-BFF373F2178F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358839758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9733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72" imgH="588" progId="TCLayout.ActiveDocument.1">
                  <p:embed/>
                </p:oleObj>
              </mc:Choice>
              <mc:Fallback>
                <p:oleObj name="think-cell Slide" r:id="rId18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52257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225796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B3F81286-3E3D-4047-B5EE-21B656F9B53B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36C4A073-C9DD-42F9-95A4-AF359B23F4F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04BFA552-49D9-4E16-A629-1111D49AE4A3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88AA18DA-B07B-42C6-8E90-F171A52D4CF9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DD74F412-8547-4EF5-965F-54429FF4DCAD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9E978611-F37A-45B2-88A5-09E59FAB87C0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2" name="Rectangle 21" hidden="1">
            <a:extLst>
              <a:ext uri="{FF2B5EF4-FFF2-40B4-BE49-F238E27FC236}">
                <a16:creationId xmlns:a16="http://schemas.microsoft.com/office/drawing/2014/main" id="{7D892FA2-2490-4BC8-9156-6A0685BFF18C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2596FD18-D735-4642-B1AB-703AAE5CF50E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5872734" y="0"/>
            <a:ext cx="327126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4" name="5. Source" hidden="1">
            <a:extLst>
              <a:ext uri="{FF2B5EF4-FFF2-40B4-BE49-F238E27FC236}">
                <a16:creationId xmlns:a16="http://schemas.microsoft.com/office/drawing/2014/main" id="{E9E108C8-9099-4A42-8FA6-A1E49050C9AB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225797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758C71F2-9D82-41FC-83A8-1E95C10CAA40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43352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99686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13" imgH="416" progId="TCLayout.ActiveDocument.1">
                  <p:embed/>
                </p:oleObj>
              </mc:Choice>
              <mc:Fallback>
                <p:oleObj name="think-cell Slide" r:id="rId1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5939028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5939028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C82CEB-A043-48F8-8D4E-6391B2D3DC17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25D13794-BEC2-4EF3-9505-F07C35A39AAC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Light">
            <a:extLst>
              <a:ext uri="{FF2B5EF4-FFF2-40B4-BE49-F238E27FC236}">
                <a16:creationId xmlns:a16="http://schemas.microsoft.com/office/drawing/2014/main" id="{521D22ED-617C-492D-98B6-071506E47C41}"/>
              </a:ext>
            </a:extLst>
          </p:cNvPr>
          <p:cNvSpPr/>
          <p:nvPr>
            <p:custDataLst>
              <p:tags r:id="rId10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793ECCDC-E9C3-4EF8-986B-9480F97189C0}"/>
              </a:ext>
            </a:extLst>
          </p:cNvPr>
          <p:cNvSpPr txBox="1"/>
          <p:nvPr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85ED19E-8C6B-48E9-B4EB-CB2028BD94CF}"/>
              </a:ext>
            </a:extLst>
          </p:cNvPr>
          <p:cNvSpPr>
            <a:spLocks noChangeArrowheads="1"/>
          </p:cNvSpPr>
          <p:nvPr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Tek">
            <a:extLst>
              <a:ext uri="{FF2B5EF4-FFF2-40B4-BE49-F238E27FC236}">
                <a16:creationId xmlns:a16="http://schemas.microsoft.com/office/drawing/2014/main" id="{BAB4FA41-63B8-4A9A-9D45-51C0E258E136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EF50A2A6-9901-4C2E-AAA4-F6A178572E20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RectangleLight">
            <a:extLst>
              <a:ext uri="{FF2B5EF4-FFF2-40B4-BE49-F238E27FC236}">
                <a16:creationId xmlns:a16="http://schemas.microsoft.com/office/drawing/2014/main" id="{12616C91-494D-4C98-90BF-EE0237A7707B}"/>
              </a:ext>
            </a:extLst>
          </p:cNvPr>
          <p:cNvSpPr/>
          <p:nvPr userDrawn="1">
            <p:custDataLst>
              <p:tags r:id="rId14"/>
            </p:custDataLst>
          </p:nvPr>
        </p:nvSpPr>
        <p:spPr bwMode="ltGray">
          <a:xfrm>
            <a:off x="6586062" y="0"/>
            <a:ext cx="255793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5" name="5. Source" hidden="1">
            <a:extLst>
              <a:ext uri="{FF2B5EF4-FFF2-40B4-BE49-F238E27FC236}">
                <a16:creationId xmlns:a16="http://schemas.microsoft.com/office/drawing/2014/main" id="{126A3230-169E-4E2E-A3F4-F75956BFF6B1}"/>
              </a:ext>
            </a:extLst>
          </p:cNvPr>
          <p:cNvSpPr txBox="1"/>
          <p:nvPr userDrawn="1">
            <p:custDataLst>
              <p:tags r:id="rId1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225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64D48676-8219-426C-8201-1AC4F88C1229}"/>
              </a:ext>
            </a:extLst>
          </p:cNvPr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202903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33066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592" imgH="591" progId="TCLayout.ActiveDocument.1">
                  <p:embed/>
                </p:oleObj>
              </mc:Choice>
              <mc:Fallback>
                <p:oleObj name="think-cell Slide" r:id="rId14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31379"/>
            <a:ext cx="8311896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8E3A0E16-3139-4CA9-901E-C846E15C55C0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AB6BFD0-CF6C-43C2-90C3-28B09852FA4D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5. Source" hidden="1">
            <a:extLst>
              <a:ext uri="{FF2B5EF4-FFF2-40B4-BE49-F238E27FC236}">
                <a16:creationId xmlns:a16="http://schemas.microsoft.com/office/drawing/2014/main" id="{C63D9BB3-D166-4279-9C44-915F6263EDEE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F9AEA839-6908-4969-96FD-FA6CD8CA125C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k">
            <a:extLst>
              <a:ext uri="{FF2B5EF4-FFF2-40B4-BE49-F238E27FC236}">
                <a16:creationId xmlns:a16="http://schemas.microsoft.com/office/drawing/2014/main" id="{A8F870B9-FA00-4FE5-88E7-8C637D1E53E9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95A06524-B55B-478E-BBB6-2A9968BF717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5466724C-21DC-4B68-BC66-943B9E4AAFF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9B4CC09F-E7F6-4952-A873-8198FF88A189}"/>
              </a:ext>
            </a:extLst>
          </p:cNvPr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08398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646767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A37AD480-5515-4291-A9DC-07F93DCBA91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98DFC9C4-5CBC-4971-9A8D-A4A0A4F0CD45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07463FF2-EE0D-4250-BDBB-29F270A9A40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5. Source" hidden="1">
            <a:extLst>
              <a:ext uri="{FF2B5EF4-FFF2-40B4-BE49-F238E27FC236}">
                <a16:creationId xmlns:a16="http://schemas.microsoft.com/office/drawing/2014/main" id="{B7D7EB18-6725-4489-820E-4B0B152227F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A98C323A-28D2-4F2B-87BD-C47779D8033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09357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481185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ACC7B31B-1785-470D-97BB-9A720C9E7850}"/>
              </a:ext>
            </a:extLst>
          </p:cNvPr>
          <p:cNvGrpSpPr/>
          <p:nvPr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27" name="Freeform 5">
              <a:extLst>
                <a:ext uri="{FF2B5EF4-FFF2-40B4-BE49-F238E27FC236}">
                  <a16:creationId xmlns:a16="http://schemas.microsoft.com/office/drawing/2014/main" id="{F8C4C433-B45C-4385-94F7-0FF093C17C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id="{190A01C7-4E49-4D5D-928D-6DE6F00E3B7C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id="{2C048768-8F4D-4A8C-8C5B-9CDFA3C596C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id="{35B5F8CF-737B-4C7D-819E-61F5B242A9A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id="{FBB91EC2-26FC-43BA-8354-E1D6569F7A8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id="{125F2603-22D0-409D-8E5B-E675AB838FB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id="{5431A395-3788-4707-A83C-9175D88CBC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id="{37A2AFFB-7FA3-49F6-9F73-509DA17D658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C930E7C7-D2E8-4786-BDB9-C8BF94C0D55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6" name="Tek">
            <a:extLst>
              <a:ext uri="{FF2B5EF4-FFF2-40B4-BE49-F238E27FC236}">
                <a16:creationId xmlns:a16="http://schemas.microsoft.com/office/drawing/2014/main" id="{42B98199-4928-4FF7-995C-3CA1D2C17415}"/>
              </a:ext>
            </a:extLst>
          </p:cNvPr>
          <p:cNvSpPr txBox="1"/>
          <p:nvPr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  <p:sp>
        <p:nvSpPr>
          <p:cNvPr id="16" name="5. Source" hidden="1">
            <a:extLst>
              <a:ext uri="{FF2B5EF4-FFF2-40B4-BE49-F238E27FC236}">
                <a16:creationId xmlns:a16="http://schemas.microsoft.com/office/drawing/2014/main" id="{B879B656-5504-4536-A2DC-80FC7F8B7C59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7E5CE7B-C5EC-4445-85DF-6BAD7D385CF1}"/>
              </a:ext>
            </a:extLst>
          </p:cNvPr>
          <p:cNvGrpSpPr/>
          <p:nvPr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DC6576E3-5BBE-4E1C-AE79-1C0EF3415C6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11384B4-6732-4BD2-ACAD-C9F34AF5408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2A6C1B32-6FB7-4CE5-B4B2-938D0E069C4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8">
              <a:extLst>
                <a:ext uri="{FF2B5EF4-FFF2-40B4-BE49-F238E27FC236}">
                  <a16:creationId xmlns:a16="http://schemas.microsoft.com/office/drawing/2014/main" id="{C076860D-78D4-40C4-AD68-9D2DBA8968C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9">
              <a:extLst>
                <a:ext uri="{FF2B5EF4-FFF2-40B4-BE49-F238E27FC236}">
                  <a16:creationId xmlns:a16="http://schemas.microsoft.com/office/drawing/2014/main" id="{E09DF3C9-DEB2-4630-898C-155235CC0E2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10">
              <a:extLst>
                <a:ext uri="{FF2B5EF4-FFF2-40B4-BE49-F238E27FC236}">
                  <a16:creationId xmlns:a16="http://schemas.microsoft.com/office/drawing/2014/main" id="{8D32ADB0-6029-42B6-9973-41951B30E05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C704EFBB-9542-4A7D-9EAE-C967294B2C0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12">
              <a:extLst>
                <a:ext uri="{FF2B5EF4-FFF2-40B4-BE49-F238E27FC236}">
                  <a16:creationId xmlns:a16="http://schemas.microsoft.com/office/drawing/2014/main" id="{68392EA9-DD9F-47AE-B886-850B8C32FA2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13">
              <a:extLst>
                <a:ext uri="{FF2B5EF4-FFF2-40B4-BE49-F238E27FC236}">
                  <a16:creationId xmlns:a16="http://schemas.microsoft.com/office/drawing/2014/main" id="{08EC6C12-5631-4B0D-8954-8037C510F19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38" name="Tek">
            <a:extLst>
              <a:ext uri="{FF2B5EF4-FFF2-40B4-BE49-F238E27FC236}">
                <a16:creationId xmlns:a16="http://schemas.microsoft.com/office/drawing/2014/main" id="{95E4893B-E97F-4125-8E3A-FD8F7526C244}"/>
              </a:ext>
            </a:extLst>
          </p:cNvPr>
          <p:cNvSpPr txBox="1"/>
          <p:nvPr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  <p:sp>
        <p:nvSpPr>
          <p:cNvPr id="40" name="5. Source" hidden="1">
            <a:extLst>
              <a:ext uri="{FF2B5EF4-FFF2-40B4-BE49-F238E27FC236}">
                <a16:creationId xmlns:a16="http://schemas.microsoft.com/office/drawing/2014/main" id="{076DD77D-82A2-405F-A8AE-3166A0F587F8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7E6EED43-1817-4BF2-81A1-60A2530B8B7B}"/>
              </a:ext>
            </a:extLst>
          </p:cNvPr>
          <p:cNvGrpSpPr/>
          <p:nvPr userDrawn="1"/>
        </p:nvGrpSpPr>
        <p:grpSpPr bwMode="gray">
          <a:xfrm>
            <a:off x="2678907" y="2330262"/>
            <a:ext cx="3786186" cy="482976"/>
            <a:chOff x="547688" y="782638"/>
            <a:chExt cx="1393825" cy="177800"/>
          </a:xfrm>
          <a:solidFill>
            <a:srgbClr val="002B45"/>
          </a:solidFill>
        </p:grpSpPr>
        <p:sp>
          <p:nvSpPr>
            <p:cNvPr id="42" name="Freeform 5">
              <a:extLst>
                <a:ext uri="{FF2B5EF4-FFF2-40B4-BE49-F238E27FC236}">
                  <a16:creationId xmlns:a16="http://schemas.microsoft.com/office/drawing/2014/main" id="{274A755F-C19D-4695-9198-31522C27B7B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D0E1E8E1-F5C5-4C12-B0E3-9DBE4B18DAAD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8812DAD9-7898-475B-94C0-3E6B2CE5D4B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E858240C-175F-4590-A367-A80A981A4BC7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020B40E-145C-46E4-9FC7-F96E97DB51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8AF2B5AA-4A50-48C0-A128-E828E5BFBE1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EDB5D934-D65E-4FCA-8307-B0A6773498B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id="{A11C9B71-3BD4-4279-8625-1F6C850C5C7F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id="{60B38D63-E7B3-4644-A0FD-34B0EA79C89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1" name="Tek">
            <a:extLst>
              <a:ext uri="{FF2B5EF4-FFF2-40B4-BE49-F238E27FC236}">
                <a16:creationId xmlns:a16="http://schemas.microsoft.com/office/drawing/2014/main" id="{2DF01C19-654D-4CB4-9CFD-3D3B409A5C85}"/>
              </a:ext>
            </a:extLst>
          </p:cNvPr>
          <p:cNvSpPr txBox="1"/>
          <p:nvPr userDrawn="1"/>
        </p:nvSpPr>
        <p:spPr bwMode="gray">
          <a:xfrm>
            <a:off x="4235050" y="5056938"/>
            <a:ext cx="673902" cy="69250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450" b="1" spc="-20" baseline="0" noProof="0">
                <a:solidFill>
                  <a:schemeClr val="accent6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792652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9F46B22-2FF3-4579-9CCA-C6678A08E9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0118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9F46B22-2FF3-4579-9CCA-C6678A08E9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F29DB3E-D393-4087-9064-C97331D6C7DD}" type="datetime1">
              <a:rPr lang="en-GB" smtClean="0"/>
              <a:t>24/10/2023</a:t>
            </a:fld>
            <a:endParaRPr lang="en-GB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1F3F7073-2DD3-4386-BBF7-0F6C7BAF276C}" type="slidenum">
              <a:rPr lang="en-GB" smtClean="0">
                <a:solidFill>
                  <a:srgbClr val="FFFFFF"/>
                </a:solidFill>
              </a:rPr>
              <a:pPr/>
              <a:t>‹nr.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6" name="Tek">
            <a:extLst>
              <a:ext uri="{FF2B5EF4-FFF2-40B4-BE49-F238E27FC236}">
                <a16:creationId xmlns:a16="http://schemas.microsoft.com/office/drawing/2014/main" id="{3A6B9632-F929-4C60-BE6F-9480CB2FC4D4}"/>
              </a:ext>
            </a:extLst>
          </p:cNvPr>
          <p:cNvSpPr txBox="1"/>
          <p:nvPr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</p:spTree>
    <p:extLst>
      <p:ext uri="{BB962C8B-B14F-4D97-AF65-F5344CB8AC3E}">
        <p14:creationId xmlns:p14="http://schemas.microsoft.com/office/powerpoint/2010/main" val="1411380200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CBA9131-B5B8-464A-AB65-276B048AE4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83964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CBA9131-B5B8-464A-AB65-276B048AE4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67B9782-6664-4B1E-817D-1A2CC913A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CE8502-3A50-4572-A685-73FA933AD7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82706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7992CF-5408-261E-38FA-B520B1267B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AE1E23-9B31-4B2D-949D-1331B3A7E16F}" type="datetime1">
              <a:rPr lang="en-GB" smtClean="0"/>
              <a:t>24/10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175E8A-BE54-02CC-239D-65007ECAD2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BB0B32-FF0C-5023-8D64-8273985CDB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58" name="Picture Placeholder 6">
            <a:extLst>
              <a:ext uri="{FF2B5EF4-FFF2-40B4-BE49-F238E27FC236}">
                <a16:creationId xmlns:a16="http://schemas.microsoft.com/office/drawing/2014/main" id="{7DDD3523-77F7-57AC-FEA9-B568A85084A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72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9" name="Picture Placeholder 6">
            <a:extLst>
              <a:ext uri="{FF2B5EF4-FFF2-40B4-BE49-F238E27FC236}">
                <a16:creationId xmlns:a16="http://schemas.microsoft.com/office/drawing/2014/main" id="{5CB83F36-565A-71F8-9E9B-1E8444ED11E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693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0" name="Picture Placeholder 6">
            <a:extLst>
              <a:ext uri="{FF2B5EF4-FFF2-40B4-BE49-F238E27FC236}">
                <a16:creationId xmlns:a16="http://schemas.microsoft.com/office/drawing/2014/main" id="{67AF1DF9-0C15-C1D5-6B0F-72492C83370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1815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1" name="Picture Placeholder 6">
            <a:extLst>
              <a:ext uri="{FF2B5EF4-FFF2-40B4-BE49-F238E27FC236}">
                <a16:creationId xmlns:a16="http://schemas.microsoft.com/office/drawing/2014/main" id="{FB573CFE-3E64-93A2-FA6B-86C99C2BEB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9937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2" name="Picture Placeholder 6">
            <a:extLst>
              <a:ext uri="{FF2B5EF4-FFF2-40B4-BE49-F238E27FC236}">
                <a16:creationId xmlns:a16="http://schemas.microsoft.com/office/drawing/2014/main" id="{DCCFA436-3D96-C193-643B-DC540028485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059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3" name="Picture Placeholder 6">
            <a:extLst>
              <a:ext uri="{FF2B5EF4-FFF2-40B4-BE49-F238E27FC236}">
                <a16:creationId xmlns:a16="http://schemas.microsoft.com/office/drawing/2014/main" id="{741E2D0D-0852-AC97-5E20-8B149DC35C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180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4" name="Picture Placeholder 6">
            <a:extLst>
              <a:ext uri="{FF2B5EF4-FFF2-40B4-BE49-F238E27FC236}">
                <a16:creationId xmlns:a16="http://schemas.microsoft.com/office/drawing/2014/main" id="{EB9776D0-BAD4-2658-09CA-1719587E2E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3026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5" name="Picture Placeholder 6">
            <a:extLst>
              <a:ext uri="{FF2B5EF4-FFF2-40B4-BE49-F238E27FC236}">
                <a16:creationId xmlns:a16="http://schemas.microsoft.com/office/drawing/2014/main" id="{3F4CF23A-EDEE-4501-A540-A31AB6D6BC1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243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6" name="Picture Placeholder 6">
            <a:extLst>
              <a:ext uri="{FF2B5EF4-FFF2-40B4-BE49-F238E27FC236}">
                <a16:creationId xmlns:a16="http://schemas.microsoft.com/office/drawing/2014/main" id="{E1D305EE-102F-45CF-9BB2-6192D67B4E1C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054613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7" name="Picture Placeholder 6">
            <a:extLst>
              <a:ext uri="{FF2B5EF4-FFF2-40B4-BE49-F238E27FC236}">
                <a16:creationId xmlns:a16="http://schemas.microsoft.com/office/drawing/2014/main" id="{A2200203-89B5-386D-220D-186D5D146BE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866788" y="129756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8" name="Picture Placeholder 6">
            <a:extLst>
              <a:ext uri="{FF2B5EF4-FFF2-40B4-BE49-F238E27FC236}">
                <a16:creationId xmlns:a16="http://schemas.microsoft.com/office/drawing/2014/main" id="{6C623936-0988-E876-C032-2CFBD3F87E3C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572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9" name="Picture Placeholder 6">
            <a:extLst>
              <a:ext uri="{FF2B5EF4-FFF2-40B4-BE49-F238E27FC236}">
                <a16:creationId xmlns:a16="http://schemas.microsoft.com/office/drawing/2014/main" id="{841D3DAB-7C0B-6AEB-42BC-4D9CAA93CB9D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13693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0" name="Picture Placeholder 6">
            <a:extLst>
              <a:ext uri="{FF2B5EF4-FFF2-40B4-BE49-F238E27FC236}">
                <a16:creationId xmlns:a16="http://schemas.microsoft.com/office/drawing/2014/main" id="{8D4985A5-6F22-AA0B-9580-64FBB385AAE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21815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1" name="Picture Placeholder 6">
            <a:extLst>
              <a:ext uri="{FF2B5EF4-FFF2-40B4-BE49-F238E27FC236}">
                <a16:creationId xmlns:a16="http://schemas.microsoft.com/office/drawing/2014/main" id="{C162F7AE-20C2-F69E-D325-3D3F679E0D3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9937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2" name="Picture Placeholder 6">
            <a:extLst>
              <a:ext uri="{FF2B5EF4-FFF2-40B4-BE49-F238E27FC236}">
                <a16:creationId xmlns:a16="http://schemas.microsoft.com/office/drawing/2014/main" id="{A0E7B572-CB8C-CD87-06F7-475E3CD4DD3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8059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3" name="Picture Placeholder 6">
            <a:extLst>
              <a:ext uri="{FF2B5EF4-FFF2-40B4-BE49-F238E27FC236}">
                <a16:creationId xmlns:a16="http://schemas.microsoft.com/office/drawing/2014/main" id="{D514803F-2DC3-8F68-566B-59B0F2C7F3E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6180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4" name="Picture Placeholder 6">
            <a:extLst>
              <a:ext uri="{FF2B5EF4-FFF2-40B4-BE49-F238E27FC236}">
                <a16:creationId xmlns:a16="http://schemas.microsoft.com/office/drawing/2014/main" id="{3A7EF374-4C20-883C-55CA-BD73335055D1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543026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5" name="Picture Placeholder 6">
            <a:extLst>
              <a:ext uri="{FF2B5EF4-FFF2-40B4-BE49-F238E27FC236}">
                <a16:creationId xmlns:a16="http://schemas.microsoft.com/office/drawing/2014/main" id="{F7AE8746-742F-D8F7-DF25-79FEFCEBCDF7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4243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6" name="Picture Placeholder 6">
            <a:extLst>
              <a:ext uri="{FF2B5EF4-FFF2-40B4-BE49-F238E27FC236}">
                <a16:creationId xmlns:a16="http://schemas.microsoft.com/office/drawing/2014/main" id="{E466522C-09DA-BFC4-699A-F37AA7DBBD8C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054613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7" name="Picture Placeholder 6">
            <a:extLst>
              <a:ext uri="{FF2B5EF4-FFF2-40B4-BE49-F238E27FC236}">
                <a16:creationId xmlns:a16="http://schemas.microsoft.com/office/drawing/2014/main" id="{B7BA6BC3-5F85-B9ED-C622-662555FB805B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7866788" y="216968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8" name="Picture Placeholder 6">
            <a:extLst>
              <a:ext uri="{FF2B5EF4-FFF2-40B4-BE49-F238E27FC236}">
                <a16:creationId xmlns:a16="http://schemas.microsoft.com/office/drawing/2014/main" id="{1CCE6744-6852-B3D6-83BD-F415B982D167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5572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9" name="Picture Placeholder 6">
            <a:extLst>
              <a:ext uri="{FF2B5EF4-FFF2-40B4-BE49-F238E27FC236}">
                <a16:creationId xmlns:a16="http://schemas.microsoft.com/office/drawing/2014/main" id="{E4BE8F84-F751-F3BE-9104-C3700D827111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3693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0" name="Picture Placeholder 6">
            <a:extLst>
              <a:ext uri="{FF2B5EF4-FFF2-40B4-BE49-F238E27FC236}">
                <a16:creationId xmlns:a16="http://schemas.microsoft.com/office/drawing/2014/main" id="{37764CD9-BAEB-E3C3-FABE-9C9C0F8C7129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21815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1" name="Picture Placeholder 6">
            <a:extLst>
              <a:ext uri="{FF2B5EF4-FFF2-40B4-BE49-F238E27FC236}">
                <a16:creationId xmlns:a16="http://schemas.microsoft.com/office/drawing/2014/main" id="{E82DA638-9904-7116-028D-79113E7A67C5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29937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2" name="Picture Placeholder 6">
            <a:extLst>
              <a:ext uri="{FF2B5EF4-FFF2-40B4-BE49-F238E27FC236}">
                <a16:creationId xmlns:a16="http://schemas.microsoft.com/office/drawing/2014/main" id="{F89BBB63-34D2-43B8-4486-AF47E9380D9A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38059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3" name="Picture Placeholder 6">
            <a:extLst>
              <a:ext uri="{FF2B5EF4-FFF2-40B4-BE49-F238E27FC236}">
                <a16:creationId xmlns:a16="http://schemas.microsoft.com/office/drawing/2014/main" id="{9CF9AEF0-1776-F66B-E769-361D92833B4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46180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4" name="Picture Placeholder 6">
            <a:extLst>
              <a:ext uri="{FF2B5EF4-FFF2-40B4-BE49-F238E27FC236}">
                <a16:creationId xmlns:a16="http://schemas.microsoft.com/office/drawing/2014/main" id="{4A2A091A-DBCB-2A98-EE41-1D1E42C0B52E}"/>
              </a:ext>
            </a:extLst>
          </p:cNvPr>
          <p:cNvSpPr>
            <a:spLocks noGrp="1"/>
          </p:cNvSpPr>
          <p:nvPr>
            <p:ph type="pic" sz="quarter" idx="39"/>
          </p:nvPr>
        </p:nvSpPr>
        <p:spPr>
          <a:xfrm>
            <a:off x="543026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5" name="Picture Placeholder 6">
            <a:extLst>
              <a:ext uri="{FF2B5EF4-FFF2-40B4-BE49-F238E27FC236}">
                <a16:creationId xmlns:a16="http://schemas.microsoft.com/office/drawing/2014/main" id="{BBBAD5F8-5DF9-FFAF-F844-FC52262BC803}"/>
              </a:ext>
            </a:extLst>
          </p:cNvPr>
          <p:cNvSpPr>
            <a:spLocks noGrp="1"/>
          </p:cNvSpPr>
          <p:nvPr>
            <p:ph type="pic" sz="quarter" idx="40"/>
          </p:nvPr>
        </p:nvSpPr>
        <p:spPr>
          <a:xfrm>
            <a:off x="624243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6" name="Picture Placeholder 6">
            <a:extLst>
              <a:ext uri="{FF2B5EF4-FFF2-40B4-BE49-F238E27FC236}">
                <a16:creationId xmlns:a16="http://schemas.microsoft.com/office/drawing/2014/main" id="{6D9A661E-2C6F-19D2-5885-00167BEE8919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7054613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7" name="Picture Placeholder 6">
            <a:extLst>
              <a:ext uri="{FF2B5EF4-FFF2-40B4-BE49-F238E27FC236}">
                <a16:creationId xmlns:a16="http://schemas.microsoft.com/office/drawing/2014/main" id="{3560C738-FBD1-BDEB-9D28-38D4E4927FAF}"/>
              </a:ext>
            </a:extLst>
          </p:cNvPr>
          <p:cNvSpPr>
            <a:spLocks noGrp="1"/>
          </p:cNvSpPr>
          <p:nvPr>
            <p:ph type="pic" sz="quarter" idx="42"/>
          </p:nvPr>
        </p:nvSpPr>
        <p:spPr>
          <a:xfrm>
            <a:off x="7866788" y="304179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8" name="Picture Placeholder 6">
            <a:extLst>
              <a:ext uri="{FF2B5EF4-FFF2-40B4-BE49-F238E27FC236}">
                <a16:creationId xmlns:a16="http://schemas.microsoft.com/office/drawing/2014/main" id="{9C9AE946-2C41-7917-A98E-1A4EA4299AED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5572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89" name="Picture Placeholder 6">
            <a:extLst>
              <a:ext uri="{FF2B5EF4-FFF2-40B4-BE49-F238E27FC236}">
                <a16:creationId xmlns:a16="http://schemas.microsoft.com/office/drawing/2014/main" id="{D9A536E7-FA1A-42F0-E45E-55D1D4BC0FB5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13693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0" name="Picture Placeholder 6">
            <a:extLst>
              <a:ext uri="{FF2B5EF4-FFF2-40B4-BE49-F238E27FC236}">
                <a16:creationId xmlns:a16="http://schemas.microsoft.com/office/drawing/2014/main" id="{3CAD4FAE-227D-A451-E6BE-0FE2E895143D}"/>
              </a:ext>
            </a:extLst>
          </p:cNvPr>
          <p:cNvSpPr>
            <a:spLocks noGrp="1"/>
          </p:cNvSpPr>
          <p:nvPr>
            <p:ph type="pic" sz="quarter" idx="45"/>
          </p:nvPr>
        </p:nvSpPr>
        <p:spPr>
          <a:xfrm>
            <a:off x="21815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1" name="Picture Placeholder 6">
            <a:extLst>
              <a:ext uri="{FF2B5EF4-FFF2-40B4-BE49-F238E27FC236}">
                <a16:creationId xmlns:a16="http://schemas.microsoft.com/office/drawing/2014/main" id="{FB39B9DB-2572-4E04-DFB3-F4B4279EFAB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29937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2" name="Picture Placeholder 6">
            <a:extLst>
              <a:ext uri="{FF2B5EF4-FFF2-40B4-BE49-F238E27FC236}">
                <a16:creationId xmlns:a16="http://schemas.microsoft.com/office/drawing/2014/main" id="{9C66CBED-440F-53FF-BD94-D505147D9942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38059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3" name="Picture Placeholder 6">
            <a:extLst>
              <a:ext uri="{FF2B5EF4-FFF2-40B4-BE49-F238E27FC236}">
                <a16:creationId xmlns:a16="http://schemas.microsoft.com/office/drawing/2014/main" id="{219AFC37-D69F-0A77-01A9-224242E3F71D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46180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4" name="Picture Placeholder 6">
            <a:extLst>
              <a:ext uri="{FF2B5EF4-FFF2-40B4-BE49-F238E27FC236}">
                <a16:creationId xmlns:a16="http://schemas.microsoft.com/office/drawing/2014/main" id="{04FAE66D-F92D-1110-8B36-66F25DC121A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543026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5" name="Picture Placeholder 6">
            <a:extLst>
              <a:ext uri="{FF2B5EF4-FFF2-40B4-BE49-F238E27FC236}">
                <a16:creationId xmlns:a16="http://schemas.microsoft.com/office/drawing/2014/main" id="{537EAC0D-0F44-EF6B-8F52-1F0AB7428F49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624243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6" name="Picture Placeholder 6">
            <a:extLst>
              <a:ext uri="{FF2B5EF4-FFF2-40B4-BE49-F238E27FC236}">
                <a16:creationId xmlns:a16="http://schemas.microsoft.com/office/drawing/2014/main" id="{9A67E20F-058D-6E8D-2606-8EC1DB5AC47E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7054613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7" name="Picture Placeholder 6">
            <a:extLst>
              <a:ext uri="{FF2B5EF4-FFF2-40B4-BE49-F238E27FC236}">
                <a16:creationId xmlns:a16="http://schemas.microsoft.com/office/drawing/2014/main" id="{59307378-79CC-9D7D-CB79-766FF220F6EC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7866788" y="391391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8" name="Picture Placeholder 6">
            <a:extLst>
              <a:ext uri="{FF2B5EF4-FFF2-40B4-BE49-F238E27FC236}">
                <a16:creationId xmlns:a16="http://schemas.microsoft.com/office/drawing/2014/main" id="{12E53AFF-68D2-BF56-87C1-C109273AA417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57213" y="425450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9" name="Picture Placeholder 6">
            <a:extLst>
              <a:ext uri="{FF2B5EF4-FFF2-40B4-BE49-F238E27FC236}">
                <a16:creationId xmlns:a16="http://schemas.microsoft.com/office/drawing/2014/main" id="{84457EDD-0670-EAD7-B649-32661CD978D0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1369388" y="425451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0" name="Picture Placeholder 6">
            <a:extLst>
              <a:ext uri="{FF2B5EF4-FFF2-40B4-BE49-F238E27FC236}">
                <a16:creationId xmlns:a16="http://schemas.microsoft.com/office/drawing/2014/main" id="{C33ED029-D2C9-7FB2-179A-42A6232A0B90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2181563" y="425452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1" name="Picture Placeholder 6">
            <a:extLst>
              <a:ext uri="{FF2B5EF4-FFF2-40B4-BE49-F238E27FC236}">
                <a16:creationId xmlns:a16="http://schemas.microsoft.com/office/drawing/2014/main" id="{685B736E-C3C9-D415-759A-BE2F1768012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2993738" y="425453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2" name="Picture Placeholder 6">
            <a:extLst>
              <a:ext uri="{FF2B5EF4-FFF2-40B4-BE49-F238E27FC236}">
                <a16:creationId xmlns:a16="http://schemas.microsoft.com/office/drawing/2014/main" id="{2F9D89C4-3D83-C9B2-D92E-1E22AA331120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>
          <a:xfrm>
            <a:off x="3805913" y="425454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3" name="Picture Placeholder 6">
            <a:extLst>
              <a:ext uri="{FF2B5EF4-FFF2-40B4-BE49-F238E27FC236}">
                <a16:creationId xmlns:a16="http://schemas.microsoft.com/office/drawing/2014/main" id="{2AB7D4DD-DB2F-1D24-0EF5-F41302615AA5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4618088" y="425455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4" name="Picture Placeholder 6">
            <a:extLst>
              <a:ext uri="{FF2B5EF4-FFF2-40B4-BE49-F238E27FC236}">
                <a16:creationId xmlns:a16="http://schemas.microsoft.com/office/drawing/2014/main" id="{81161AFF-9187-29C7-D88D-E27D3F10F60E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>
          <a:xfrm>
            <a:off x="5430263" y="425456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5" name="Picture Placeholder 6">
            <a:extLst>
              <a:ext uri="{FF2B5EF4-FFF2-40B4-BE49-F238E27FC236}">
                <a16:creationId xmlns:a16="http://schemas.microsoft.com/office/drawing/2014/main" id="{99FBBA3F-EC6C-3CED-5D14-24F133805FC4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>
          <a:xfrm>
            <a:off x="6242438" y="425457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6" name="Picture Placeholder 6">
            <a:extLst>
              <a:ext uri="{FF2B5EF4-FFF2-40B4-BE49-F238E27FC236}">
                <a16:creationId xmlns:a16="http://schemas.microsoft.com/office/drawing/2014/main" id="{341423CB-9458-8B82-4D86-92E0F8DAD854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>
          <a:xfrm>
            <a:off x="7054613" y="425458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7" name="Picture Placeholder 6">
            <a:extLst>
              <a:ext uri="{FF2B5EF4-FFF2-40B4-BE49-F238E27FC236}">
                <a16:creationId xmlns:a16="http://schemas.microsoft.com/office/drawing/2014/main" id="{71D4066F-9058-047F-CA98-295A66368556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>
          <a:xfrm>
            <a:off x="7866788" y="425459"/>
            <a:ext cx="720000" cy="720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3947963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952412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666BC690-9394-4B63-BE02-CF7B6D6313BB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4272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F3F30C05-D54F-4C9E-A675-263BA4645255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77189" y="157127"/>
            <a:ext cx="9144000" cy="23847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33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8" name="Tekstvak 1">
            <a:extLst>
              <a:ext uri="{FF2B5EF4-FFF2-40B4-BE49-F238E27FC236}">
                <a16:creationId xmlns:a16="http://schemas.microsoft.com/office/drawing/2014/main" id="{4CE7666B-4F0E-4F1C-9CB5-1C39E9D4C249}"/>
              </a:ext>
            </a:extLst>
          </p:cNvPr>
          <p:cNvSpPr txBox="1"/>
          <p:nvPr userDrawn="1"/>
        </p:nvSpPr>
        <p:spPr bwMode="gray">
          <a:xfrm>
            <a:off x="514352" y="3432483"/>
            <a:ext cx="3117841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6857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500" b="1" i="0" u="none" strike="noStrike" kern="0" cap="none" spc="-15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Together we make the difference</a:t>
            </a:r>
          </a:p>
        </p:txBody>
      </p:sp>
      <p:sp>
        <p:nvSpPr>
          <p:cNvPr id="49" name="Documenttype">
            <a:extLst>
              <a:ext uri="{FF2B5EF4-FFF2-40B4-BE49-F238E27FC236}">
                <a16:creationId xmlns:a16="http://schemas.microsoft.com/office/drawing/2014/main" id="{11DC0CEE-474E-4E41-BA30-CBD27534F72B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 bwMode="ltGray">
          <a:xfrm>
            <a:off x="575780" y="3039217"/>
            <a:ext cx="4373410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05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50" name="Subtitle">
            <a:extLst>
              <a:ext uri="{FF2B5EF4-FFF2-40B4-BE49-F238E27FC236}">
                <a16:creationId xmlns:a16="http://schemas.microsoft.com/office/drawing/2014/main" id="{53D6EB4F-7F30-45AC-81B2-17B264CBD8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 bwMode="ltGray">
          <a:xfrm>
            <a:off x="575780" y="2680424"/>
            <a:ext cx="4373410" cy="2308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5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51" name="Title">
            <a:extLst>
              <a:ext uri="{FF2B5EF4-FFF2-40B4-BE49-F238E27FC236}">
                <a16:creationId xmlns:a16="http://schemas.microsoft.com/office/drawing/2014/main" id="{00871D49-D77A-4F7A-8936-89E517780A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ltGray">
          <a:xfrm>
            <a:off x="575780" y="1387763"/>
            <a:ext cx="4373410" cy="10156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sz="33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24DB8118-724E-4DC6-AE2A-1AEC6825ADE7}"/>
              </a:ext>
            </a:extLst>
          </p:cNvPr>
          <p:cNvGrpSpPr/>
          <p:nvPr userDrawn="1"/>
        </p:nvGrpSpPr>
        <p:grpSpPr bwMode="gray">
          <a:xfrm>
            <a:off x="575780" y="601981"/>
            <a:ext cx="1931436" cy="246380"/>
            <a:chOff x="547688" y="782638"/>
            <a:chExt cx="1393825" cy="177800"/>
          </a:xfrm>
          <a:solidFill>
            <a:srgbClr val="FFFFFF"/>
          </a:solidFill>
        </p:grpSpPr>
        <p:sp>
          <p:nvSpPr>
            <p:cNvPr id="37" name="Freeform 5">
              <a:extLst>
                <a:ext uri="{FF2B5EF4-FFF2-40B4-BE49-F238E27FC236}">
                  <a16:creationId xmlns:a16="http://schemas.microsoft.com/office/drawing/2014/main" id="{F3FE26C1-3A86-4F2C-8433-895A702DE15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547688" y="785813"/>
              <a:ext cx="165100" cy="169863"/>
            </a:xfrm>
            <a:custGeom>
              <a:avLst/>
              <a:gdLst>
                <a:gd name="T0" fmla="*/ 0 w 104"/>
                <a:gd name="T1" fmla="*/ 0 h 107"/>
                <a:gd name="T2" fmla="*/ 104 w 104"/>
                <a:gd name="T3" fmla="*/ 0 h 107"/>
                <a:gd name="T4" fmla="*/ 104 w 104"/>
                <a:gd name="T5" fmla="*/ 31 h 107"/>
                <a:gd name="T6" fmla="*/ 74 w 104"/>
                <a:gd name="T7" fmla="*/ 31 h 107"/>
                <a:gd name="T8" fmla="*/ 74 w 104"/>
                <a:gd name="T9" fmla="*/ 107 h 107"/>
                <a:gd name="T10" fmla="*/ 30 w 104"/>
                <a:gd name="T11" fmla="*/ 107 h 107"/>
                <a:gd name="T12" fmla="*/ 30 w 104"/>
                <a:gd name="T13" fmla="*/ 31 h 107"/>
                <a:gd name="T14" fmla="*/ 0 w 104"/>
                <a:gd name="T15" fmla="*/ 31 h 107"/>
                <a:gd name="T16" fmla="*/ 0 w 104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107">
                  <a:moveTo>
                    <a:pt x="0" y="0"/>
                  </a:moveTo>
                  <a:lnTo>
                    <a:pt x="104" y="0"/>
                  </a:lnTo>
                  <a:lnTo>
                    <a:pt x="104" y="31"/>
                  </a:lnTo>
                  <a:lnTo>
                    <a:pt x="74" y="31"/>
                  </a:lnTo>
                  <a:lnTo>
                    <a:pt x="74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 6">
              <a:extLst>
                <a:ext uri="{FF2B5EF4-FFF2-40B4-BE49-F238E27FC236}">
                  <a16:creationId xmlns:a16="http://schemas.microsoft.com/office/drawing/2014/main" id="{A8621C55-BAE9-4F8D-B750-7B6D5AB06AA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693738" y="785813"/>
              <a:ext cx="203200" cy="169863"/>
            </a:xfrm>
            <a:custGeom>
              <a:avLst/>
              <a:gdLst>
                <a:gd name="T0" fmla="*/ 64 w 128"/>
                <a:gd name="T1" fmla="*/ 43 h 107"/>
                <a:gd name="T2" fmla="*/ 42 w 128"/>
                <a:gd name="T3" fmla="*/ 107 h 107"/>
                <a:gd name="T4" fmla="*/ 0 w 128"/>
                <a:gd name="T5" fmla="*/ 107 h 107"/>
                <a:gd name="T6" fmla="*/ 40 w 128"/>
                <a:gd name="T7" fmla="*/ 0 h 107"/>
                <a:gd name="T8" fmla="*/ 86 w 128"/>
                <a:gd name="T9" fmla="*/ 0 h 107"/>
                <a:gd name="T10" fmla="*/ 128 w 128"/>
                <a:gd name="T11" fmla="*/ 107 h 107"/>
                <a:gd name="T12" fmla="*/ 86 w 128"/>
                <a:gd name="T13" fmla="*/ 107 h 107"/>
                <a:gd name="T14" fmla="*/ 64 w 128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8" h="107">
                  <a:moveTo>
                    <a:pt x="64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0" y="0"/>
                  </a:lnTo>
                  <a:lnTo>
                    <a:pt x="86" y="0"/>
                  </a:lnTo>
                  <a:lnTo>
                    <a:pt x="128" y="107"/>
                  </a:lnTo>
                  <a:lnTo>
                    <a:pt x="86" y="107"/>
                  </a:lnTo>
                  <a:lnTo>
                    <a:pt x="64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903F71C7-B7D8-46E8-B5F6-C56503333E56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881063" y="785813"/>
              <a:ext cx="163513" cy="169863"/>
            </a:xfrm>
            <a:custGeom>
              <a:avLst/>
              <a:gdLst>
                <a:gd name="T0" fmla="*/ 0 w 103"/>
                <a:gd name="T1" fmla="*/ 0 h 107"/>
                <a:gd name="T2" fmla="*/ 103 w 103"/>
                <a:gd name="T3" fmla="*/ 0 h 107"/>
                <a:gd name="T4" fmla="*/ 103 w 103"/>
                <a:gd name="T5" fmla="*/ 31 h 107"/>
                <a:gd name="T6" fmla="*/ 73 w 103"/>
                <a:gd name="T7" fmla="*/ 31 h 107"/>
                <a:gd name="T8" fmla="*/ 73 w 103"/>
                <a:gd name="T9" fmla="*/ 107 h 107"/>
                <a:gd name="T10" fmla="*/ 30 w 103"/>
                <a:gd name="T11" fmla="*/ 107 h 107"/>
                <a:gd name="T12" fmla="*/ 30 w 103"/>
                <a:gd name="T13" fmla="*/ 31 h 107"/>
                <a:gd name="T14" fmla="*/ 0 w 103"/>
                <a:gd name="T15" fmla="*/ 31 h 107"/>
                <a:gd name="T16" fmla="*/ 0 w 103"/>
                <a:gd name="T17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3" h="107">
                  <a:moveTo>
                    <a:pt x="0" y="0"/>
                  </a:moveTo>
                  <a:lnTo>
                    <a:pt x="103" y="0"/>
                  </a:lnTo>
                  <a:lnTo>
                    <a:pt x="103" y="31"/>
                  </a:lnTo>
                  <a:lnTo>
                    <a:pt x="73" y="31"/>
                  </a:lnTo>
                  <a:lnTo>
                    <a:pt x="73" y="107"/>
                  </a:lnTo>
                  <a:lnTo>
                    <a:pt x="30" y="107"/>
                  </a:lnTo>
                  <a:lnTo>
                    <a:pt x="30" y="31"/>
                  </a:lnTo>
                  <a:lnTo>
                    <a:pt x="0" y="3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5479A4E0-76F2-4CA0-9CA3-F9E73A6C9248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027113" y="785813"/>
              <a:ext cx="201613" cy="169863"/>
            </a:xfrm>
            <a:custGeom>
              <a:avLst/>
              <a:gdLst>
                <a:gd name="T0" fmla="*/ 63 w 127"/>
                <a:gd name="T1" fmla="*/ 43 h 107"/>
                <a:gd name="T2" fmla="*/ 42 w 127"/>
                <a:gd name="T3" fmla="*/ 107 h 107"/>
                <a:gd name="T4" fmla="*/ 0 w 127"/>
                <a:gd name="T5" fmla="*/ 107 h 107"/>
                <a:gd name="T6" fmla="*/ 42 w 127"/>
                <a:gd name="T7" fmla="*/ 0 h 107"/>
                <a:gd name="T8" fmla="*/ 85 w 127"/>
                <a:gd name="T9" fmla="*/ 0 h 107"/>
                <a:gd name="T10" fmla="*/ 127 w 127"/>
                <a:gd name="T11" fmla="*/ 107 h 107"/>
                <a:gd name="T12" fmla="*/ 85 w 127"/>
                <a:gd name="T13" fmla="*/ 107 h 107"/>
                <a:gd name="T14" fmla="*/ 63 w 127"/>
                <a:gd name="T15" fmla="*/ 4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7" h="107">
                  <a:moveTo>
                    <a:pt x="63" y="43"/>
                  </a:moveTo>
                  <a:lnTo>
                    <a:pt x="42" y="107"/>
                  </a:lnTo>
                  <a:lnTo>
                    <a:pt x="0" y="107"/>
                  </a:lnTo>
                  <a:lnTo>
                    <a:pt x="42" y="0"/>
                  </a:lnTo>
                  <a:lnTo>
                    <a:pt x="85" y="0"/>
                  </a:lnTo>
                  <a:lnTo>
                    <a:pt x="127" y="107"/>
                  </a:lnTo>
                  <a:lnTo>
                    <a:pt x="85" y="107"/>
                  </a:lnTo>
                  <a:lnTo>
                    <a:pt x="6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DD059D9F-3FA4-42D7-B0C2-627FF1D95D4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306513" y="782638"/>
              <a:ext cx="111125" cy="177800"/>
            </a:xfrm>
            <a:custGeom>
              <a:avLst/>
              <a:gdLst>
                <a:gd name="T0" fmla="*/ 25 w 42"/>
                <a:gd name="T1" fmla="*/ 28 h 67"/>
                <a:gd name="T2" fmla="*/ 13 w 42"/>
                <a:gd name="T3" fmla="*/ 17 h 67"/>
                <a:gd name="T4" fmla="*/ 24 w 42"/>
                <a:gd name="T5" fmla="*/ 10 h 67"/>
                <a:gd name="T6" fmla="*/ 36 w 42"/>
                <a:gd name="T7" fmla="*/ 13 h 67"/>
                <a:gd name="T8" fmla="*/ 39 w 42"/>
                <a:gd name="T9" fmla="*/ 3 h 67"/>
                <a:gd name="T10" fmla="*/ 24 w 42"/>
                <a:gd name="T11" fmla="*/ 0 h 67"/>
                <a:gd name="T12" fmla="*/ 1 w 42"/>
                <a:gd name="T13" fmla="*/ 19 h 67"/>
                <a:gd name="T14" fmla="*/ 18 w 42"/>
                <a:gd name="T15" fmla="*/ 37 h 67"/>
                <a:gd name="T16" fmla="*/ 30 w 42"/>
                <a:gd name="T17" fmla="*/ 48 h 67"/>
                <a:gd name="T18" fmla="*/ 18 w 42"/>
                <a:gd name="T19" fmla="*/ 57 h 67"/>
                <a:gd name="T20" fmla="*/ 2 w 42"/>
                <a:gd name="T21" fmla="*/ 53 h 67"/>
                <a:gd name="T22" fmla="*/ 0 w 42"/>
                <a:gd name="T23" fmla="*/ 63 h 67"/>
                <a:gd name="T24" fmla="*/ 17 w 42"/>
                <a:gd name="T25" fmla="*/ 67 h 67"/>
                <a:gd name="T26" fmla="*/ 42 w 42"/>
                <a:gd name="T27" fmla="*/ 47 h 67"/>
                <a:gd name="T28" fmla="*/ 25 w 42"/>
                <a:gd name="T29" fmla="*/ 28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" h="67">
                  <a:moveTo>
                    <a:pt x="25" y="28"/>
                  </a:moveTo>
                  <a:cubicBezTo>
                    <a:pt x="17" y="25"/>
                    <a:pt x="13" y="22"/>
                    <a:pt x="13" y="17"/>
                  </a:cubicBezTo>
                  <a:cubicBezTo>
                    <a:pt x="13" y="14"/>
                    <a:pt x="16" y="10"/>
                    <a:pt x="24" y="10"/>
                  </a:cubicBezTo>
                  <a:cubicBezTo>
                    <a:pt x="30" y="10"/>
                    <a:pt x="34" y="11"/>
                    <a:pt x="36" y="1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6" y="1"/>
                    <a:pt x="31" y="0"/>
                    <a:pt x="24" y="0"/>
                  </a:cubicBezTo>
                  <a:cubicBezTo>
                    <a:pt x="10" y="0"/>
                    <a:pt x="1" y="8"/>
                    <a:pt x="1" y="19"/>
                  </a:cubicBezTo>
                  <a:cubicBezTo>
                    <a:pt x="1" y="28"/>
                    <a:pt x="8" y="34"/>
                    <a:pt x="18" y="37"/>
                  </a:cubicBezTo>
                  <a:cubicBezTo>
                    <a:pt x="27" y="40"/>
                    <a:pt x="30" y="43"/>
                    <a:pt x="30" y="48"/>
                  </a:cubicBezTo>
                  <a:cubicBezTo>
                    <a:pt x="30" y="53"/>
                    <a:pt x="26" y="57"/>
                    <a:pt x="18" y="57"/>
                  </a:cubicBezTo>
                  <a:cubicBezTo>
                    <a:pt x="12" y="57"/>
                    <a:pt x="6" y="55"/>
                    <a:pt x="2" y="53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3" y="65"/>
                    <a:pt x="10" y="67"/>
                    <a:pt x="17" y="67"/>
                  </a:cubicBezTo>
                  <a:cubicBezTo>
                    <a:pt x="34" y="67"/>
                    <a:pt x="42" y="58"/>
                    <a:pt x="42" y="47"/>
                  </a:cubicBezTo>
                  <a:cubicBezTo>
                    <a:pt x="42" y="38"/>
                    <a:pt x="36" y="32"/>
                    <a:pt x="25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1E209053-A41A-4FC7-9AD7-97D9D50430D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425575" y="785813"/>
              <a:ext cx="130175" cy="173038"/>
            </a:xfrm>
            <a:custGeom>
              <a:avLst/>
              <a:gdLst>
                <a:gd name="T0" fmla="*/ 0 w 82"/>
                <a:gd name="T1" fmla="*/ 16 h 109"/>
                <a:gd name="T2" fmla="*/ 32 w 82"/>
                <a:gd name="T3" fmla="*/ 16 h 109"/>
                <a:gd name="T4" fmla="*/ 32 w 82"/>
                <a:gd name="T5" fmla="*/ 109 h 109"/>
                <a:gd name="T6" fmla="*/ 52 w 82"/>
                <a:gd name="T7" fmla="*/ 109 h 109"/>
                <a:gd name="T8" fmla="*/ 52 w 82"/>
                <a:gd name="T9" fmla="*/ 16 h 109"/>
                <a:gd name="T10" fmla="*/ 82 w 82"/>
                <a:gd name="T11" fmla="*/ 16 h 109"/>
                <a:gd name="T12" fmla="*/ 82 w 82"/>
                <a:gd name="T13" fmla="*/ 0 h 109"/>
                <a:gd name="T14" fmla="*/ 0 w 82"/>
                <a:gd name="T15" fmla="*/ 0 h 109"/>
                <a:gd name="T16" fmla="*/ 0 w 82"/>
                <a:gd name="T17" fmla="*/ 1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2" h="109">
                  <a:moveTo>
                    <a:pt x="0" y="16"/>
                  </a:moveTo>
                  <a:lnTo>
                    <a:pt x="32" y="16"/>
                  </a:lnTo>
                  <a:lnTo>
                    <a:pt x="32" y="109"/>
                  </a:lnTo>
                  <a:lnTo>
                    <a:pt x="52" y="109"/>
                  </a:lnTo>
                  <a:lnTo>
                    <a:pt x="52" y="16"/>
                  </a:lnTo>
                  <a:lnTo>
                    <a:pt x="82" y="16"/>
                  </a:lnTo>
                  <a:lnTo>
                    <a:pt x="82" y="0"/>
                  </a:lnTo>
                  <a:lnTo>
                    <a:pt x="0" y="0"/>
                  </a:lnTo>
                  <a:lnTo>
                    <a:pt x="0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E1036384-1639-495B-B9E4-01E36B3BD43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708150" y="785813"/>
              <a:ext cx="103188" cy="173038"/>
            </a:xfrm>
            <a:custGeom>
              <a:avLst/>
              <a:gdLst>
                <a:gd name="T0" fmla="*/ 20 w 65"/>
                <a:gd name="T1" fmla="*/ 60 h 109"/>
                <a:gd name="T2" fmla="*/ 62 w 65"/>
                <a:gd name="T3" fmla="*/ 60 h 109"/>
                <a:gd name="T4" fmla="*/ 62 w 65"/>
                <a:gd name="T5" fmla="*/ 43 h 109"/>
                <a:gd name="T6" fmla="*/ 20 w 65"/>
                <a:gd name="T7" fmla="*/ 43 h 109"/>
                <a:gd name="T8" fmla="*/ 20 w 65"/>
                <a:gd name="T9" fmla="*/ 16 h 109"/>
                <a:gd name="T10" fmla="*/ 63 w 65"/>
                <a:gd name="T11" fmla="*/ 16 h 109"/>
                <a:gd name="T12" fmla="*/ 63 w 65"/>
                <a:gd name="T13" fmla="*/ 0 h 109"/>
                <a:gd name="T14" fmla="*/ 0 w 65"/>
                <a:gd name="T15" fmla="*/ 0 h 109"/>
                <a:gd name="T16" fmla="*/ 0 w 65"/>
                <a:gd name="T17" fmla="*/ 109 h 109"/>
                <a:gd name="T18" fmla="*/ 65 w 65"/>
                <a:gd name="T19" fmla="*/ 109 h 109"/>
                <a:gd name="T20" fmla="*/ 65 w 65"/>
                <a:gd name="T21" fmla="*/ 92 h 109"/>
                <a:gd name="T22" fmla="*/ 20 w 65"/>
                <a:gd name="T23" fmla="*/ 92 h 109"/>
                <a:gd name="T24" fmla="*/ 20 w 65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109">
                  <a:moveTo>
                    <a:pt x="20" y="60"/>
                  </a:moveTo>
                  <a:lnTo>
                    <a:pt x="62" y="60"/>
                  </a:lnTo>
                  <a:lnTo>
                    <a:pt x="62" y="43"/>
                  </a:lnTo>
                  <a:lnTo>
                    <a:pt x="20" y="43"/>
                  </a:lnTo>
                  <a:lnTo>
                    <a:pt x="20" y="16"/>
                  </a:lnTo>
                  <a:lnTo>
                    <a:pt x="63" y="16"/>
                  </a:lnTo>
                  <a:lnTo>
                    <a:pt x="63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5" y="109"/>
                  </a:lnTo>
                  <a:lnTo>
                    <a:pt x="65" y="92"/>
                  </a:lnTo>
                  <a:lnTo>
                    <a:pt x="20" y="92"/>
                  </a:lnTo>
                  <a:lnTo>
                    <a:pt x="20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 12">
              <a:extLst>
                <a:ext uri="{FF2B5EF4-FFF2-40B4-BE49-F238E27FC236}">
                  <a16:creationId xmlns:a16="http://schemas.microsoft.com/office/drawing/2014/main" id="{B645CAEF-FCBE-4524-AC05-1FB67953153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839913" y="785813"/>
              <a:ext cx="101600" cy="173038"/>
            </a:xfrm>
            <a:custGeom>
              <a:avLst/>
              <a:gdLst>
                <a:gd name="T0" fmla="*/ 20 w 64"/>
                <a:gd name="T1" fmla="*/ 92 h 109"/>
                <a:gd name="T2" fmla="*/ 20 w 64"/>
                <a:gd name="T3" fmla="*/ 0 h 109"/>
                <a:gd name="T4" fmla="*/ 0 w 64"/>
                <a:gd name="T5" fmla="*/ 0 h 109"/>
                <a:gd name="T6" fmla="*/ 0 w 64"/>
                <a:gd name="T7" fmla="*/ 109 h 109"/>
                <a:gd name="T8" fmla="*/ 64 w 64"/>
                <a:gd name="T9" fmla="*/ 109 h 109"/>
                <a:gd name="T10" fmla="*/ 64 w 64"/>
                <a:gd name="T11" fmla="*/ 92 h 109"/>
                <a:gd name="T12" fmla="*/ 20 w 64"/>
                <a:gd name="T13" fmla="*/ 92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109">
                  <a:moveTo>
                    <a:pt x="20" y="92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4" y="109"/>
                  </a:lnTo>
                  <a:lnTo>
                    <a:pt x="64" y="92"/>
                  </a:lnTo>
                  <a:lnTo>
                    <a:pt x="20" y="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 13">
              <a:extLst>
                <a:ext uri="{FF2B5EF4-FFF2-40B4-BE49-F238E27FC236}">
                  <a16:creationId xmlns:a16="http://schemas.microsoft.com/office/drawing/2014/main" id="{000BB836-4781-4ABF-BED0-31086B8D17FE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1576388" y="785813"/>
              <a:ext cx="104775" cy="173038"/>
            </a:xfrm>
            <a:custGeom>
              <a:avLst/>
              <a:gdLst>
                <a:gd name="T0" fmla="*/ 21 w 66"/>
                <a:gd name="T1" fmla="*/ 60 h 109"/>
                <a:gd name="T2" fmla="*/ 61 w 66"/>
                <a:gd name="T3" fmla="*/ 60 h 109"/>
                <a:gd name="T4" fmla="*/ 61 w 66"/>
                <a:gd name="T5" fmla="*/ 43 h 109"/>
                <a:gd name="T6" fmla="*/ 21 w 66"/>
                <a:gd name="T7" fmla="*/ 43 h 109"/>
                <a:gd name="T8" fmla="*/ 21 w 66"/>
                <a:gd name="T9" fmla="*/ 16 h 109"/>
                <a:gd name="T10" fmla="*/ 62 w 66"/>
                <a:gd name="T11" fmla="*/ 16 h 109"/>
                <a:gd name="T12" fmla="*/ 62 w 66"/>
                <a:gd name="T13" fmla="*/ 0 h 109"/>
                <a:gd name="T14" fmla="*/ 0 w 66"/>
                <a:gd name="T15" fmla="*/ 0 h 109"/>
                <a:gd name="T16" fmla="*/ 0 w 66"/>
                <a:gd name="T17" fmla="*/ 109 h 109"/>
                <a:gd name="T18" fmla="*/ 66 w 66"/>
                <a:gd name="T19" fmla="*/ 109 h 109"/>
                <a:gd name="T20" fmla="*/ 66 w 66"/>
                <a:gd name="T21" fmla="*/ 92 h 109"/>
                <a:gd name="T22" fmla="*/ 21 w 66"/>
                <a:gd name="T23" fmla="*/ 92 h 109"/>
                <a:gd name="T24" fmla="*/ 21 w 66"/>
                <a:gd name="T25" fmla="*/ 6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6" h="109">
                  <a:moveTo>
                    <a:pt x="21" y="60"/>
                  </a:moveTo>
                  <a:lnTo>
                    <a:pt x="61" y="60"/>
                  </a:lnTo>
                  <a:lnTo>
                    <a:pt x="61" y="43"/>
                  </a:lnTo>
                  <a:lnTo>
                    <a:pt x="21" y="43"/>
                  </a:lnTo>
                  <a:lnTo>
                    <a:pt x="21" y="16"/>
                  </a:lnTo>
                  <a:lnTo>
                    <a:pt x="62" y="16"/>
                  </a:lnTo>
                  <a:lnTo>
                    <a:pt x="62" y="0"/>
                  </a:lnTo>
                  <a:lnTo>
                    <a:pt x="0" y="0"/>
                  </a:lnTo>
                  <a:lnTo>
                    <a:pt x="0" y="109"/>
                  </a:lnTo>
                  <a:lnTo>
                    <a:pt x="66" y="109"/>
                  </a:lnTo>
                  <a:lnTo>
                    <a:pt x="66" y="92"/>
                  </a:lnTo>
                  <a:lnTo>
                    <a:pt x="21" y="92"/>
                  </a:lnTo>
                  <a:lnTo>
                    <a:pt x="21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76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2CCCB6B-12B9-4060-A677-5A5C625BE0B0}"/>
              </a:ext>
            </a:extLst>
          </p:cNvPr>
          <p:cNvGrpSpPr/>
          <p:nvPr userDrawn="1"/>
        </p:nvGrpSpPr>
        <p:grpSpPr>
          <a:xfrm>
            <a:off x="2104006" y="2882720"/>
            <a:ext cx="7039994" cy="2275466"/>
            <a:chOff x="2805342" y="3843627"/>
            <a:chExt cx="9386658" cy="3033954"/>
          </a:xfrm>
        </p:grpSpPr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id="{E7844101-B72F-42E3-B744-6CE9C4C3D40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37309"/>
            <a:stretch/>
          </p:blipFill>
          <p:spPr>
            <a:xfrm flipH="1">
              <a:off x="4548850" y="3843627"/>
              <a:ext cx="7643150" cy="3033954"/>
            </a:xfrm>
            <a:prstGeom prst="rect">
              <a:avLst/>
            </a:prstGeom>
          </p:spPr>
        </p:pic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CF26371-C0F1-492E-A210-933B63D69AA8}"/>
                </a:ext>
              </a:extLst>
            </p:cNvPr>
            <p:cNvSpPr/>
            <p:nvPr userDrawn="1"/>
          </p:nvSpPr>
          <p:spPr>
            <a:xfrm>
              <a:off x="3356120" y="6217026"/>
              <a:ext cx="226394" cy="481056"/>
            </a:xfrm>
            <a:custGeom>
              <a:avLst/>
              <a:gdLst>
                <a:gd name="connsiteX0" fmla="*/ 132100 w 226394"/>
                <a:gd name="connsiteY0" fmla="*/ 0 h 481056"/>
                <a:gd name="connsiteX1" fmla="*/ 132203 w 226394"/>
                <a:gd name="connsiteY1" fmla="*/ 82 h 481056"/>
                <a:gd name="connsiteX2" fmla="*/ 226394 w 226394"/>
                <a:gd name="connsiteY2" fmla="*/ 257144 h 481056"/>
                <a:gd name="connsiteX3" fmla="*/ 163821 w 226394"/>
                <a:gd name="connsiteY3" fmla="*/ 476352 h 481056"/>
                <a:gd name="connsiteX4" fmla="*/ 159892 w 226394"/>
                <a:gd name="connsiteY4" fmla="*/ 481056 h 481056"/>
                <a:gd name="connsiteX5" fmla="*/ 159596 w 226394"/>
                <a:gd name="connsiteY5" fmla="*/ 480511 h 481056"/>
                <a:gd name="connsiteX6" fmla="*/ 53953 w 226394"/>
                <a:gd name="connsiteY6" fmla="*/ 374868 h 481056"/>
                <a:gd name="connsiteX7" fmla="*/ 0 w 226394"/>
                <a:gd name="connsiteY7" fmla="*/ 345582 h 481056"/>
                <a:gd name="connsiteX8" fmla="*/ 5518 w 226394"/>
                <a:gd name="connsiteY8" fmla="*/ 309427 h 481056"/>
                <a:gd name="connsiteX9" fmla="*/ 97832 w 226394"/>
                <a:gd name="connsiteY9" fmla="*/ 56406 h 481056"/>
                <a:gd name="connsiteX10" fmla="*/ 132100 w 226394"/>
                <a:gd name="connsiteY10" fmla="*/ 0 h 481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6394" h="481056">
                  <a:moveTo>
                    <a:pt x="132100" y="0"/>
                  </a:moveTo>
                  <a:lnTo>
                    <a:pt x="132203" y="82"/>
                  </a:lnTo>
                  <a:cubicBezTo>
                    <a:pt x="189031" y="55792"/>
                    <a:pt x="226394" y="150136"/>
                    <a:pt x="226394" y="257144"/>
                  </a:cubicBezTo>
                  <a:cubicBezTo>
                    <a:pt x="226394" y="342750"/>
                    <a:pt x="202482" y="420251"/>
                    <a:pt x="163821" y="476352"/>
                  </a:cubicBezTo>
                  <a:lnTo>
                    <a:pt x="159892" y="481056"/>
                  </a:lnTo>
                  <a:lnTo>
                    <a:pt x="159596" y="480511"/>
                  </a:lnTo>
                  <a:cubicBezTo>
                    <a:pt x="131482" y="438895"/>
                    <a:pt x="95569" y="402982"/>
                    <a:pt x="53953" y="374868"/>
                  </a:cubicBezTo>
                  <a:lnTo>
                    <a:pt x="0" y="345582"/>
                  </a:lnTo>
                  <a:lnTo>
                    <a:pt x="5518" y="309427"/>
                  </a:lnTo>
                  <a:cubicBezTo>
                    <a:pt x="23894" y="219625"/>
                    <a:pt x="55359" y="134591"/>
                    <a:pt x="97832" y="56406"/>
                  </a:cubicBezTo>
                  <a:lnTo>
                    <a:pt x="132100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478945EC-57BB-4C05-9F60-97FC6A1E9461}"/>
                </a:ext>
              </a:extLst>
            </p:cNvPr>
            <p:cNvSpPr/>
            <p:nvPr userDrawn="1"/>
          </p:nvSpPr>
          <p:spPr>
            <a:xfrm>
              <a:off x="3159004" y="6525098"/>
              <a:ext cx="197117" cy="255797"/>
            </a:xfrm>
            <a:custGeom>
              <a:avLst/>
              <a:gdLst>
                <a:gd name="connsiteX0" fmla="*/ 32394 w 197117"/>
                <a:gd name="connsiteY0" fmla="*/ 0 h 255797"/>
                <a:gd name="connsiteX1" fmla="*/ 184634 w 197117"/>
                <a:gd name="connsiteY1" fmla="*/ 30736 h 255797"/>
                <a:gd name="connsiteX2" fmla="*/ 197117 w 197117"/>
                <a:gd name="connsiteY2" fmla="*/ 37511 h 255797"/>
                <a:gd name="connsiteX3" fmla="*/ 188699 w 197117"/>
                <a:gd name="connsiteY3" fmla="*/ 92670 h 255797"/>
                <a:gd name="connsiteX4" fmla="*/ 183951 w 197117"/>
                <a:gd name="connsiteY4" fmla="*/ 186700 h 255797"/>
                <a:gd name="connsiteX5" fmla="*/ 187440 w 197117"/>
                <a:gd name="connsiteY5" fmla="*/ 255797 h 255797"/>
                <a:gd name="connsiteX6" fmla="*/ 166817 w 197117"/>
                <a:gd name="connsiteY6" fmla="*/ 252781 h 255797"/>
                <a:gd name="connsiteX7" fmla="*/ 575 w 197117"/>
                <a:gd name="connsiteY7" fmla="*/ 11550 h 255797"/>
                <a:gd name="connsiteX8" fmla="*/ 0 w 197117"/>
                <a:gd name="connsiteY8" fmla="*/ 3265 h 255797"/>
                <a:gd name="connsiteX9" fmla="*/ 32394 w 197117"/>
                <a:gd name="connsiteY9" fmla="*/ 0 h 25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97117" h="255797">
                  <a:moveTo>
                    <a:pt x="32394" y="0"/>
                  </a:moveTo>
                  <a:cubicBezTo>
                    <a:pt x="86396" y="0"/>
                    <a:pt x="137842" y="10944"/>
                    <a:pt x="184634" y="30736"/>
                  </a:cubicBezTo>
                  <a:lnTo>
                    <a:pt x="197117" y="37511"/>
                  </a:lnTo>
                  <a:lnTo>
                    <a:pt x="188699" y="92670"/>
                  </a:lnTo>
                  <a:cubicBezTo>
                    <a:pt x="185560" y="123586"/>
                    <a:pt x="183951" y="154955"/>
                    <a:pt x="183951" y="186700"/>
                  </a:cubicBezTo>
                  <a:lnTo>
                    <a:pt x="187440" y="255797"/>
                  </a:lnTo>
                  <a:lnTo>
                    <a:pt x="166817" y="252781"/>
                  </a:lnTo>
                  <a:cubicBezTo>
                    <a:pt x="83374" y="228003"/>
                    <a:pt x="17651" y="132634"/>
                    <a:pt x="575" y="11550"/>
                  </a:cubicBezTo>
                  <a:lnTo>
                    <a:pt x="0" y="3265"/>
                  </a:lnTo>
                  <a:lnTo>
                    <a:pt x="32394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06FD3792-EBE2-4A1D-810D-E6A0EEB7B0DA}"/>
                </a:ext>
              </a:extLst>
            </p:cNvPr>
            <p:cNvSpPr/>
            <p:nvPr userDrawn="1"/>
          </p:nvSpPr>
          <p:spPr>
            <a:xfrm>
              <a:off x="3346444" y="6698082"/>
              <a:ext cx="231009" cy="167924"/>
            </a:xfrm>
            <a:custGeom>
              <a:avLst/>
              <a:gdLst>
                <a:gd name="connsiteX0" fmla="*/ 169569 w 231009"/>
                <a:gd name="connsiteY0" fmla="*/ 0 h 167924"/>
                <a:gd name="connsiteX1" fmla="*/ 205334 w 231009"/>
                <a:gd name="connsiteY1" fmla="*/ 65891 h 167924"/>
                <a:gd name="connsiteX2" fmla="*/ 228124 w 231009"/>
                <a:gd name="connsiteY2" fmla="*/ 139308 h 167924"/>
                <a:gd name="connsiteX3" fmla="*/ 231009 w 231009"/>
                <a:gd name="connsiteY3" fmla="*/ 167924 h 167924"/>
                <a:gd name="connsiteX4" fmla="*/ 10443 w 231009"/>
                <a:gd name="connsiteY4" fmla="*/ 167924 h 167924"/>
                <a:gd name="connsiteX5" fmla="*/ 1259 w 231009"/>
                <a:gd name="connsiteY5" fmla="*/ 107745 h 167924"/>
                <a:gd name="connsiteX6" fmla="*/ 0 w 231009"/>
                <a:gd name="connsiteY6" fmla="*/ 82812 h 167924"/>
                <a:gd name="connsiteX7" fmla="*/ 22433 w 231009"/>
                <a:gd name="connsiteY7" fmla="*/ 86094 h 167924"/>
                <a:gd name="connsiteX8" fmla="*/ 141880 w 231009"/>
                <a:gd name="connsiteY8" fmla="*/ 33150 h 167924"/>
                <a:gd name="connsiteX9" fmla="*/ 169569 w 231009"/>
                <a:gd name="connsiteY9" fmla="*/ 0 h 167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31009" h="167924">
                  <a:moveTo>
                    <a:pt x="169569" y="0"/>
                  </a:moveTo>
                  <a:lnTo>
                    <a:pt x="205334" y="65891"/>
                  </a:lnTo>
                  <a:cubicBezTo>
                    <a:pt x="215230" y="89287"/>
                    <a:pt x="222914" y="113847"/>
                    <a:pt x="228124" y="139308"/>
                  </a:cubicBezTo>
                  <a:lnTo>
                    <a:pt x="231009" y="167924"/>
                  </a:lnTo>
                  <a:lnTo>
                    <a:pt x="10443" y="167924"/>
                  </a:lnTo>
                  <a:lnTo>
                    <a:pt x="1259" y="107745"/>
                  </a:lnTo>
                  <a:lnTo>
                    <a:pt x="0" y="82812"/>
                  </a:lnTo>
                  <a:lnTo>
                    <a:pt x="22433" y="86094"/>
                  </a:lnTo>
                  <a:cubicBezTo>
                    <a:pt x="66679" y="86094"/>
                    <a:pt x="107783" y="66576"/>
                    <a:pt x="141880" y="33150"/>
                  </a:cubicBezTo>
                  <a:lnTo>
                    <a:pt x="169569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8A9A33F2-CDB2-48CD-B382-6B2A205B7A37}"/>
                </a:ext>
              </a:extLst>
            </p:cNvPr>
            <p:cNvSpPr/>
            <p:nvPr userDrawn="1"/>
          </p:nvSpPr>
          <p:spPr>
            <a:xfrm>
              <a:off x="3488220" y="5792136"/>
              <a:ext cx="1694056" cy="1073870"/>
            </a:xfrm>
            <a:custGeom>
              <a:avLst/>
              <a:gdLst>
                <a:gd name="connsiteX0" fmla="*/ 774395 w 1694056"/>
                <a:gd name="connsiteY0" fmla="*/ 0 h 1073870"/>
                <a:gd name="connsiteX1" fmla="*/ 1694056 w 1694056"/>
                <a:gd name="connsiteY1" fmla="*/ 919661 h 1073870"/>
                <a:gd name="connsiteX2" fmla="*/ 1689308 w 1694056"/>
                <a:gd name="connsiteY2" fmla="*/ 1013691 h 1073870"/>
                <a:gd name="connsiteX3" fmla="*/ 1680124 w 1694056"/>
                <a:gd name="connsiteY3" fmla="*/ 1073870 h 1073870"/>
                <a:gd name="connsiteX4" fmla="*/ 89232 w 1694056"/>
                <a:gd name="connsiteY4" fmla="*/ 1073870 h 1073870"/>
                <a:gd name="connsiteX5" fmla="*/ 86347 w 1694056"/>
                <a:gd name="connsiteY5" fmla="*/ 1045254 h 1073870"/>
                <a:gd name="connsiteX6" fmla="*/ 63557 w 1694056"/>
                <a:gd name="connsiteY6" fmla="*/ 971837 h 1073870"/>
                <a:gd name="connsiteX7" fmla="*/ 27792 w 1694056"/>
                <a:gd name="connsiteY7" fmla="*/ 905946 h 1073870"/>
                <a:gd name="connsiteX8" fmla="*/ 31721 w 1694056"/>
                <a:gd name="connsiteY8" fmla="*/ 901242 h 1073870"/>
                <a:gd name="connsiteX9" fmla="*/ 94294 w 1694056"/>
                <a:gd name="connsiteY9" fmla="*/ 682034 h 1073870"/>
                <a:gd name="connsiteX10" fmla="*/ 103 w 1694056"/>
                <a:gd name="connsiteY10" fmla="*/ 424972 h 1073870"/>
                <a:gd name="connsiteX11" fmla="*/ 0 w 1694056"/>
                <a:gd name="connsiteY11" fmla="*/ 424890 h 1073870"/>
                <a:gd name="connsiteX12" fmla="*/ 11798 w 1694056"/>
                <a:gd name="connsiteY12" fmla="*/ 405470 h 1073870"/>
                <a:gd name="connsiteX13" fmla="*/ 774395 w 1694056"/>
                <a:gd name="connsiteY13" fmla="*/ 0 h 1073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694056" h="1073870">
                  <a:moveTo>
                    <a:pt x="774395" y="0"/>
                  </a:moveTo>
                  <a:cubicBezTo>
                    <a:pt x="1282310" y="0"/>
                    <a:pt x="1694056" y="411746"/>
                    <a:pt x="1694056" y="919661"/>
                  </a:cubicBezTo>
                  <a:cubicBezTo>
                    <a:pt x="1694056" y="951405"/>
                    <a:pt x="1692448" y="982774"/>
                    <a:pt x="1689308" y="1013691"/>
                  </a:cubicBezTo>
                  <a:lnTo>
                    <a:pt x="1680124" y="1073870"/>
                  </a:lnTo>
                  <a:lnTo>
                    <a:pt x="89232" y="1073870"/>
                  </a:lnTo>
                  <a:lnTo>
                    <a:pt x="86347" y="1045254"/>
                  </a:lnTo>
                  <a:cubicBezTo>
                    <a:pt x="81137" y="1019793"/>
                    <a:pt x="73453" y="995233"/>
                    <a:pt x="63557" y="971837"/>
                  </a:cubicBezTo>
                  <a:lnTo>
                    <a:pt x="27792" y="905946"/>
                  </a:lnTo>
                  <a:lnTo>
                    <a:pt x="31721" y="901242"/>
                  </a:lnTo>
                  <a:cubicBezTo>
                    <a:pt x="70382" y="845141"/>
                    <a:pt x="94294" y="767640"/>
                    <a:pt x="94294" y="682034"/>
                  </a:cubicBezTo>
                  <a:cubicBezTo>
                    <a:pt x="94294" y="575026"/>
                    <a:pt x="56931" y="480682"/>
                    <a:pt x="103" y="424972"/>
                  </a:cubicBezTo>
                  <a:lnTo>
                    <a:pt x="0" y="424890"/>
                  </a:lnTo>
                  <a:lnTo>
                    <a:pt x="11798" y="405470"/>
                  </a:lnTo>
                  <a:cubicBezTo>
                    <a:pt x="177067" y="160838"/>
                    <a:pt x="456948" y="0"/>
                    <a:pt x="774395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A532FA7-3B5C-41C3-AAFF-F6CDB2A8CBF9}"/>
                </a:ext>
              </a:extLst>
            </p:cNvPr>
            <p:cNvSpPr/>
            <p:nvPr userDrawn="1"/>
          </p:nvSpPr>
          <p:spPr>
            <a:xfrm>
              <a:off x="3155238" y="6164164"/>
              <a:ext cx="332982" cy="398444"/>
            </a:xfrm>
            <a:custGeom>
              <a:avLst/>
              <a:gdLst>
                <a:gd name="connsiteX0" fmla="*/ 213638 w 332982"/>
                <a:gd name="connsiteY0" fmla="*/ 0 h 398444"/>
                <a:gd name="connsiteX1" fmla="*/ 296796 w 332982"/>
                <a:gd name="connsiteY1" fmla="*/ 24362 h 398444"/>
                <a:gd name="connsiteX2" fmla="*/ 332982 w 332982"/>
                <a:gd name="connsiteY2" fmla="*/ 52862 h 398444"/>
                <a:gd name="connsiteX3" fmla="*/ 298714 w 332982"/>
                <a:gd name="connsiteY3" fmla="*/ 109268 h 398444"/>
                <a:gd name="connsiteX4" fmla="*/ 206400 w 332982"/>
                <a:gd name="connsiteY4" fmla="*/ 362289 h 398444"/>
                <a:gd name="connsiteX5" fmla="*/ 200882 w 332982"/>
                <a:gd name="connsiteY5" fmla="*/ 398444 h 398444"/>
                <a:gd name="connsiteX6" fmla="*/ 188399 w 332982"/>
                <a:gd name="connsiteY6" fmla="*/ 391669 h 398444"/>
                <a:gd name="connsiteX7" fmla="*/ 36159 w 332982"/>
                <a:gd name="connsiteY7" fmla="*/ 360933 h 398444"/>
                <a:gd name="connsiteX8" fmla="*/ 3765 w 332982"/>
                <a:gd name="connsiteY8" fmla="*/ 364198 h 398444"/>
                <a:gd name="connsiteX9" fmla="*/ 0 w 332982"/>
                <a:gd name="connsiteY9" fmla="*/ 310006 h 398444"/>
                <a:gd name="connsiteX10" fmla="*/ 213638 w 332982"/>
                <a:gd name="connsiteY10" fmla="*/ 0 h 398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32982" h="398444">
                  <a:moveTo>
                    <a:pt x="213638" y="0"/>
                  </a:moveTo>
                  <a:cubicBezTo>
                    <a:pt x="243135" y="0"/>
                    <a:pt x="271236" y="8674"/>
                    <a:pt x="296796" y="24362"/>
                  </a:cubicBezTo>
                  <a:lnTo>
                    <a:pt x="332982" y="52862"/>
                  </a:lnTo>
                  <a:lnTo>
                    <a:pt x="298714" y="109268"/>
                  </a:lnTo>
                  <a:cubicBezTo>
                    <a:pt x="256241" y="187453"/>
                    <a:pt x="224776" y="272487"/>
                    <a:pt x="206400" y="362289"/>
                  </a:cubicBezTo>
                  <a:lnTo>
                    <a:pt x="200882" y="398444"/>
                  </a:lnTo>
                  <a:lnTo>
                    <a:pt x="188399" y="391669"/>
                  </a:lnTo>
                  <a:cubicBezTo>
                    <a:pt x="141607" y="371877"/>
                    <a:pt x="90161" y="360933"/>
                    <a:pt x="36159" y="360933"/>
                  </a:cubicBezTo>
                  <a:lnTo>
                    <a:pt x="3765" y="364198"/>
                  </a:lnTo>
                  <a:lnTo>
                    <a:pt x="0" y="310006"/>
                  </a:lnTo>
                  <a:cubicBezTo>
                    <a:pt x="0" y="138794"/>
                    <a:pt x="95649" y="0"/>
                    <a:pt x="213638" y="0"/>
                  </a:cubicBez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D2137AA-7BB0-4DEE-A9A7-6BE6BFE7FEEF}"/>
                </a:ext>
              </a:extLst>
            </p:cNvPr>
            <p:cNvSpPr/>
            <p:nvPr userDrawn="1"/>
          </p:nvSpPr>
          <p:spPr>
            <a:xfrm>
              <a:off x="2805342" y="6528362"/>
              <a:ext cx="551544" cy="337644"/>
            </a:xfrm>
            <a:custGeom>
              <a:avLst/>
              <a:gdLst>
                <a:gd name="connsiteX0" fmla="*/ 353661 w 551544"/>
                <a:gd name="connsiteY0" fmla="*/ 0 h 337644"/>
                <a:gd name="connsiteX1" fmla="*/ 354236 w 551544"/>
                <a:gd name="connsiteY1" fmla="*/ 8285 h 337644"/>
                <a:gd name="connsiteX2" fmla="*/ 520478 w 551544"/>
                <a:gd name="connsiteY2" fmla="*/ 249516 h 337644"/>
                <a:gd name="connsiteX3" fmla="*/ 541101 w 551544"/>
                <a:gd name="connsiteY3" fmla="*/ 252532 h 337644"/>
                <a:gd name="connsiteX4" fmla="*/ 542360 w 551544"/>
                <a:gd name="connsiteY4" fmla="*/ 277465 h 337644"/>
                <a:gd name="connsiteX5" fmla="*/ 551544 w 551544"/>
                <a:gd name="connsiteY5" fmla="*/ 337644 h 337644"/>
                <a:gd name="connsiteX6" fmla="*/ 0 w 551544"/>
                <a:gd name="connsiteY6" fmla="*/ 337644 h 337644"/>
                <a:gd name="connsiteX7" fmla="*/ 2885 w 551544"/>
                <a:gd name="connsiteY7" fmla="*/ 309028 h 337644"/>
                <a:gd name="connsiteX8" fmla="*/ 307232 w 551544"/>
                <a:gd name="connsiteY8" fmla="*/ 4681 h 337644"/>
                <a:gd name="connsiteX9" fmla="*/ 353661 w 551544"/>
                <a:gd name="connsiteY9" fmla="*/ 0 h 3376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1544" h="337644">
                  <a:moveTo>
                    <a:pt x="353661" y="0"/>
                  </a:moveTo>
                  <a:lnTo>
                    <a:pt x="354236" y="8285"/>
                  </a:lnTo>
                  <a:cubicBezTo>
                    <a:pt x="371312" y="129369"/>
                    <a:pt x="437035" y="224738"/>
                    <a:pt x="520478" y="249516"/>
                  </a:cubicBezTo>
                  <a:lnTo>
                    <a:pt x="541101" y="252532"/>
                  </a:lnTo>
                  <a:lnTo>
                    <a:pt x="542360" y="277465"/>
                  </a:lnTo>
                  <a:lnTo>
                    <a:pt x="551544" y="337644"/>
                  </a:lnTo>
                  <a:lnTo>
                    <a:pt x="0" y="337644"/>
                  </a:lnTo>
                  <a:lnTo>
                    <a:pt x="2885" y="309028"/>
                  </a:lnTo>
                  <a:cubicBezTo>
                    <a:pt x="34145" y="156263"/>
                    <a:pt x="154468" y="35941"/>
                    <a:pt x="307232" y="4681"/>
                  </a:cubicBezTo>
                  <a:lnTo>
                    <a:pt x="353661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55D17026-EFA5-447F-9C4C-3F42E6D80173}"/>
                </a:ext>
              </a:extLst>
            </p:cNvPr>
            <p:cNvSpPr/>
            <p:nvPr userDrawn="1"/>
          </p:nvSpPr>
          <p:spPr>
            <a:xfrm>
              <a:off x="3342954" y="6562608"/>
              <a:ext cx="173058" cy="221568"/>
            </a:xfrm>
            <a:custGeom>
              <a:avLst/>
              <a:gdLst>
                <a:gd name="connsiteX0" fmla="*/ 13166 w 173058"/>
                <a:gd name="connsiteY0" fmla="*/ 0 h 221568"/>
                <a:gd name="connsiteX1" fmla="*/ 67119 w 173058"/>
                <a:gd name="connsiteY1" fmla="*/ 29286 h 221568"/>
                <a:gd name="connsiteX2" fmla="*/ 172762 w 173058"/>
                <a:gd name="connsiteY2" fmla="*/ 134929 h 221568"/>
                <a:gd name="connsiteX3" fmla="*/ 173058 w 173058"/>
                <a:gd name="connsiteY3" fmla="*/ 135474 h 221568"/>
                <a:gd name="connsiteX4" fmla="*/ 145369 w 173058"/>
                <a:gd name="connsiteY4" fmla="*/ 168624 h 221568"/>
                <a:gd name="connsiteX5" fmla="*/ 25922 w 173058"/>
                <a:gd name="connsiteY5" fmla="*/ 221568 h 221568"/>
                <a:gd name="connsiteX6" fmla="*/ 3489 w 173058"/>
                <a:gd name="connsiteY6" fmla="*/ 218286 h 221568"/>
                <a:gd name="connsiteX7" fmla="*/ 0 w 173058"/>
                <a:gd name="connsiteY7" fmla="*/ 149189 h 221568"/>
                <a:gd name="connsiteX8" fmla="*/ 4748 w 173058"/>
                <a:gd name="connsiteY8" fmla="*/ 55159 h 221568"/>
                <a:gd name="connsiteX9" fmla="*/ 13166 w 173058"/>
                <a:gd name="connsiteY9" fmla="*/ 0 h 221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73058" h="221568">
                  <a:moveTo>
                    <a:pt x="13166" y="0"/>
                  </a:moveTo>
                  <a:lnTo>
                    <a:pt x="67119" y="29286"/>
                  </a:lnTo>
                  <a:cubicBezTo>
                    <a:pt x="108735" y="57400"/>
                    <a:pt x="144648" y="93313"/>
                    <a:pt x="172762" y="134929"/>
                  </a:cubicBezTo>
                  <a:lnTo>
                    <a:pt x="173058" y="135474"/>
                  </a:lnTo>
                  <a:lnTo>
                    <a:pt x="145369" y="168624"/>
                  </a:lnTo>
                  <a:cubicBezTo>
                    <a:pt x="111272" y="202050"/>
                    <a:pt x="70168" y="221568"/>
                    <a:pt x="25922" y="221568"/>
                  </a:cubicBezTo>
                  <a:lnTo>
                    <a:pt x="3489" y="218286"/>
                  </a:lnTo>
                  <a:lnTo>
                    <a:pt x="0" y="149189"/>
                  </a:lnTo>
                  <a:cubicBezTo>
                    <a:pt x="0" y="117444"/>
                    <a:pt x="1609" y="86075"/>
                    <a:pt x="4748" y="55159"/>
                  </a:cubicBezTo>
                  <a:lnTo>
                    <a:pt x="13166" y="0"/>
                  </a:lnTo>
                  <a:close/>
                </a:path>
              </a:pathLst>
            </a:custGeom>
            <a:solidFill>
              <a:srgbClr val="FFFFFF"/>
            </a:solidFill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225"/>
                </a:spcBef>
                <a:spcAft>
                  <a:spcPts val="225"/>
                </a:spcAft>
              </a:pPr>
              <a:endParaRPr lang="en-GB" sz="1200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88C478C4-41DE-4D00-98C5-6C4E2C1DF83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236960" y="61672"/>
            <a:ext cx="827904" cy="386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23005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69061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0A73BBDA-8429-4C19-94D3-EA3CEB77377C}"/>
              </a:ext>
            </a:extLst>
          </p:cNvPr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2">
              <a:lumMod val="90000"/>
              <a:lumOff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225"/>
              </a:spcBef>
              <a:spcAft>
                <a:spcPts val="225"/>
              </a:spcAft>
            </a:pPr>
            <a:endParaRPr lang="en-GB" sz="1200">
              <a:solidFill>
                <a:schemeClr val="bg1"/>
              </a:solidFill>
            </a:endParaRPr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799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145BBD6A-3183-4289-BE31-BEC7AA178114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773278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666965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354534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278371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6052" y="365522"/>
            <a:ext cx="2859786" cy="521208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Agenda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A599221-8AAB-402E-AC4B-46DA6C77D7E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85312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19768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129159"/>
            <a:ext cx="8311896" cy="288541"/>
          </a:xfrm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16052" y="426976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n-US" sz="135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4066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2432133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687071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16052" y="2283210"/>
            <a:ext cx="3799332" cy="57708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7760D3E-644F-4CFE-9480-2A172D2E24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517036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999088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255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129284" y="2667172"/>
            <a:ext cx="6885432" cy="392415"/>
          </a:xfrm>
          <a:prstGeom prst="rect">
            <a:avLst/>
          </a:prstGeom>
        </p:spPr>
        <p:txBody>
          <a:bodyPr vert="horz" anchor="b">
            <a:spAutoFit/>
          </a:bodyPr>
          <a:lstStyle>
            <a:lvl1pPr rtl="0">
              <a:lnSpc>
                <a:spcPct val="105000"/>
              </a:lnSpc>
              <a:defRPr sz="255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129284" y="3213473"/>
            <a:ext cx="6885432" cy="20774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6943CF5F-1B37-4640-8FCA-A6A8C55755A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32444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20487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2560320" y="0"/>
            <a:ext cx="6583680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1885950" cy="57708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3"/>
            <a:ext cx="1885950" cy="415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2" y="31198"/>
            <a:ext cx="1885951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F600B-6E90-49B5-BBCB-B8DAE2CA600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1337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017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273552" y="0"/>
            <a:ext cx="5870448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2058277"/>
            <a:ext cx="2599182" cy="57708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2744734"/>
            <a:ext cx="2599181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599183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D00E5DF-16CC-4853-A5D6-ECBEBBA303F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421591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6494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569714" y="0"/>
            <a:ext cx="4574286" cy="5143500"/>
          </a:xfrm>
          <a:prstGeom prst="rect">
            <a:avLst/>
          </a:prstGeom>
          <a:solidFill>
            <a:schemeClr val="accent2">
              <a:lumMod val="10000"/>
              <a:lumOff val="90000"/>
              <a:alpha val="8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GB" sz="1013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2" y="129159"/>
            <a:ext cx="3799332" cy="28854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2" y="426976"/>
            <a:ext cx="3799332" cy="20774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3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416052" y="4876252"/>
            <a:ext cx="5458396" cy="923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GB" sz="6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416051" y="31198"/>
            <a:ext cx="2882504" cy="9233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3358D041-EF8F-445B-B5C2-C6949DC45E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8432484" y="4885607"/>
            <a:ext cx="244126" cy="9233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5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600" b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5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nr.›</a:t>
            </a:fld>
            <a:endParaRPr lang="en-GB" sz="600" b="1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532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slideLayout" Target="../slideLayouts/slideLayout220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29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32" Type="http://schemas.openxmlformats.org/officeDocument/2006/relationships/oleObject" Target="../embeddings/oleObject92.bin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28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31" Type="http://schemas.openxmlformats.org/officeDocument/2006/relationships/tags" Target="../tags/tag788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slideLayout" Target="../slideLayouts/slideLayout222.xml"/><Relationship Id="rId30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slideLayout" Target="../slideLayouts/slideLayout237.xml"/><Relationship Id="rId18" Type="http://schemas.openxmlformats.org/officeDocument/2006/relationships/tags" Target="../tags/tag791.xml"/><Relationship Id="rId26" Type="http://schemas.openxmlformats.org/officeDocument/2006/relationships/tags" Target="../tags/tag799.xml"/><Relationship Id="rId3" Type="http://schemas.openxmlformats.org/officeDocument/2006/relationships/slideLayout" Target="../slideLayouts/slideLayout227.xml"/><Relationship Id="rId21" Type="http://schemas.openxmlformats.org/officeDocument/2006/relationships/tags" Target="../tags/tag794.xml"/><Relationship Id="rId34" Type="http://schemas.openxmlformats.org/officeDocument/2006/relationships/tags" Target="../tags/tag80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17" Type="http://schemas.openxmlformats.org/officeDocument/2006/relationships/tags" Target="../tags/tag790.xml"/><Relationship Id="rId25" Type="http://schemas.openxmlformats.org/officeDocument/2006/relationships/tags" Target="../tags/tag798.xml"/><Relationship Id="rId33" Type="http://schemas.openxmlformats.org/officeDocument/2006/relationships/tags" Target="../tags/tag806.xml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226.xml"/><Relationship Id="rId16" Type="http://schemas.openxmlformats.org/officeDocument/2006/relationships/theme" Target="../theme/theme11.xml"/><Relationship Id="rId20" Type="http://schemas.openxmlformats.org/officeDocument/2006/relationships/tags" Target="../tags/tag793.xml"/><Relationship Id="rId29" Type="http://schemas.openxmlformats.org/officeDocument/2006/relationships/tags" Target="../tags/tag802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24" Type="http://schemas.openxmlformats.org/officeDocument/2006/relationships/tags" Target="../tags/tag797.xml"/><Relationship Id="rId32" Type="http://schemas.openxmlformats.org/officeDocument/2006/relationships/tags" Target="../tags/tag805.xml"/><Relationship Id="rId37" Type="http://schemas.openxmlformats.org/officeDocument/2006/relationships/oleObject" Target="../embeddings/oleObject94.bin"/><Relationship Id="rId5" Type="http://schemas.openxmlformats.org/officeDocument/2006/relationships/slideLayout" Target="../slideLayouts/slideLayout229.xml"/><Relationship Id="rId15" Type="http://schemas.openxmlformats.org/officeDocument/2006/relationships/slideLayout" Target="../slideLayouts/slideLayout239.xml"/><Relationship Id="rId23" Type="http://schemas.openxmlformats.org/officeDocument/2006/relationships/tags" Target="../tags/tag796.xml"/><Relationship Id="rId28" Type="http://schemas.openxmlformats.org/officeDocument/2006/relationships/tags" Target="../tags/tag801.xml"/><Relationship Id="rId36" Type="http://schemas.openxmlformats.org/officeDocument/2006/relationships/tags" Target="../tags/tag809.xml"/><Relationship Id="rId10" Type="http://schemas.openxmlformats.org/officeDocument/2006/relationships/slideLayout" Target="../slideLayouts/slideLayout234.xml"/><Relationship Id="rId19" Type="http://schemas.openxmlformats.org/officeDocument/2006/relationships/tags" Target="../tags/tag792.xml"/><Relationship Id="rId31" Type="http://schemas.openxmlformats.org/officeDocument/2006/relationships/tags" Target="../tags/tag80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slideLayout" Target="../slideLayouts/slideLayout238.xml"/><Relationship Id="rId22" Type="http://schemas.openxmlformats.org/officeDocument/2006/relationships/tags" Target="../tags/tag795.xml"/><Relationship Id="rId27" Type="http://schemas.openxmlformats.org/officeDocument/2006/relationships/tags" Target="../tags/tag800.xml"/><Relationship Id="rId30" Type="http://schemas.openxmlformats.org/officeDocument/2006/relationships/tags" Target="../tags/tag803.xml"/><Relationship Id="rId35" Type="http://schemas.openxmlformats.org/officeDocument/2006/relationships/tags" Target="../tags/tag80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7.xml"/><Relationship Id="rId13" Type="http://schemas.openxmlformats.org/officeDocument/2006/relationships/slideLayout" Target="../slideLayouts/slideLayout252.xml"/><Relationship Id="rId18" Type="http://schemas.openxmlformats.org/officeDocument/2006/relationships/slideLayout" Target="../slideLayouts/slideLayout257.xml"/><Relationship Id="rId26" Type="http://schemas.openxmlformats.org/officeDocument/2006/relationships/slideLayout" Target="../slideLayouts/slideLayout265.xml"/><Relationship Id="rId3" Type="http://schemas.openxmlformats.org/officeDocument/2006/relationships/slideLayout" Target="../slideLayouts/slideLayout242.xml"/><Relationship Id="rId21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17" Type="http://schemas.openxmlformats.org/officeDocument/2006/relationships/slideLayout" Target="../slideLayouts/slideLayout256.xml"/><Relationship Id="rId25" Type="http://schemas.openxmlformats.org/officeDocument/2006/relationships/slideLayout" Target="../slideLayouts/slideLayout264.xml"/><Relationship Id="rId33" Type="http://schemas.openxmlformats.org/officeDocument/2006/relationships/image" Target="../media/image20.emf"/><Relationship Id="rId2" Type="http://schemas.openxmlformats.org/officeDocument/2006/relationships/slideLayout" Target="../slideLayouts/slideLayout241.xml"/><Relationship Id="rId16" Type="http://schemas.openxmlformats.org/officeDocument/2006/relationships/slideLayout" Target="../slideLayouts/slideLayout255.xml"/><Relationship Id="rId20" Type="http://schemas.openxmlformats.org/officeDocument/2006/relationships/slideLayout" Target="../slideLayouts/slideLayout259.xml"/><Relationship Id="rId29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24" Type="http://schemas.openxmlformats.org/officeDocument/2006/relationships/slideLayout" Target="../slideLayouts/slideLayout263.xml"/><Relationship Id="rId32" Type="http://schemas.openxmlformats.org/officeDocument/2006/relationships/oleObject" Target="../embeddings/oleObject110.bin"/><Relationship Id="rId5" Type="http://schemas.openxmlformats.org/officeDocument/2006/relationships/slideLayout" Target="../slideLayouts/slideLayout244.xml"/><Relationship Id="rId15" Type="http://schemas.openxmlformats.org/officeDocument/2006/relationships/slideLayout" Target="../slideLayouts/slideLayout254.xml"/><Relationship Id="rId23" Type="http://schemas.openxmlformats.org/officeDocument/2006/relationships/slideLayout" Target="../slideLayouts/slideLayout262.xml"/><Relationship Id="rId28" Type="http://schemas.openxmlformats.org/officeDocument/2006/relationships/slideLayout" Target="../slideLayouts/slideLayout267.xml"/><Relationship Id="rId10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58.xml"/><Relationship Id="rId31" Type="http://schemas.openxmlformats.org/officeDocument/2006/relationships/tags" Target="../tags/tag906.xml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53.xml"/><Relationship Id="rId22" Type="http://schemas.openxmlformats.org/officeDocument/2006/relationships/slideLayout" Target="../slideLayouts/slideLayout261.xml"/><Relationship Id="rId27" Type="http://schemas.openxmlformats.org/officeDocument/2006/relationships/slideLayout" Target="../slideLayouts/slideLayout266.xml"/><Relationship Id="rId30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6.xml"/><Relationship Id="rId13" Type="http://schemas.openxmlformats.org/officeDocument/2006/relationships/slideLayout" Target="../slideLayouts/slideLayout281.xml"/><Relationship Id="rId18" Type="http://schemas.openxmlformats.org/officeDocument/2006/relationships/slideLayout" Target="../slideLayouts/slideLayout286.xml"/><Relationship Id="rId26" Type="http://schemas.openxmlformats.org/officeDocument/2006/relationships/slideLayout" Target="../slideLayouts/slideLayout294.xml"/><Relationship Id="rId3" Type="http://schemas.openxmlformats.org/officeDocument/2006/relationships/slideLayout" Target="../slideLayouts/slideLayout271.xml"/><Relationship Id="rId21" Type="http://schemas.openxmlformats.org/officeDocument/2006/relationships/slideLayout" Target="../slideLayouts/slideLayout289.xml"/><Relationship Id="rId7" Type="http://schemas.openxmlformats.org/officeDocument/2006/relationships/slideLayout" Target="../slideLayouts/slideLayout275.xml"/><Relationship Id="rId12" Type="http://schemas.openxmlformats.org/officeDocument/2006/relationships/slideLayout" Target="../slideLayouts/slideLayout280.xml"/><Relationship Id="rId17" Type="http://schemas.openxmlformats.org/officeDocument/2006/relationships/slideLayout" Target="../slideLayouts/slideLayout285.xml"/><Relationship Id="rId25" Type="http://schemas.openxmlformats.org/officeDocument/2006/relationships/slideLayout" Target="../slideLayouts/slideLayout293.xml"/><Relationship Id="rId2" Type="http://schemas.openxmlformats.org/officeDocument/2006/relationships/slideLayout" Target="../slideLayouts/slideLayout270.xml"/><Relationship Id="rId16" Type="http://schemas.openxmlformats.org/officeDocument/2006/relationships/slideLayout" Target="../slideLayouts/slideLayout284.xml"/><Relationship Id="rId20" Type="http://schemas.openxmlformats.org/officeDocument/2006/relationships/slideLayout" Target="../slideLayouts/slideLayout288.xml"/><Relationship Id="rId29" Type="http://schemas.openxmlformats.org/officeDocument/2006/relationships/theme" Target="../theme/theme13.xml"/><Relationship Id="rId1" Type="http://schemas.openxmlformats.org/officeDocument/2006/relationships/slideLayout" Target="../slideLayouts/slideLayout269.xml"/><Relationship Id="rId6" Type="http://schemas.openxmlformats.org/officeDocument/2006/relationships/slideLayout" Target="../slideLayouts/slideLayout274.xml"/><Relationship Id="rId11" Type="http://schemas.openxmlformats.org/officeDocument/2006/relationships/slideLayout" Target="../slideLayouts/slideLayout279.xml"/><Relationship Id="rId24" Type="http://schemas.openxmlformats.org/officeDocument/2006/relationships/slideLayout" Target="../slideLayouts/slideLayout292.xml"/><Relationship Id="rId32" Type="http://schemas.openxmlformats.org/officeDocument/2006/relationships/image" Target="../media/image10.emf"/><Relationship Id="rId5" Type="http://schemas.openxmlformats.org/officeDocument/2006/relationships/slideLayout" Target="../slideLayouts/slideLayout273.xml"/><Relationship Id="rId15" Type="http://schemas.openxmlformats.org/officeDocument/2006/relationships/slideLayout" Target="../slideLayouts/slideLayout283.xml"/><Relationship Id="rId23" Type="http://schemas.openxmlformats.org/officeDocument/2006/relationships/slideLayout" Target="../slideLayouts/slideLayout291.xml"/><Relationship Id="rId28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278.xml"/><Relationship Id="rId19" Type="http://schemas.openxmlformats.org/officeDocument/2006/relationships/slideLayout" Target="../slideLayouts/slideLayout287.xml"/><Relationship Id="rId31" Type="http://schemas.openxmlformats.org/officeDocument/2006/relationships/oleObject" Target="../embeddings/oleObject111.bin"/><Relationship Id="rId4" Type="http://schemas.openxmlformats.org/officeDocument/2006/relationships/slideLayout" Target="../slideLayouts/slideLayout272.xml"/><Relationship Id="rId9" Type="http://schemas.openxmlformats.org/officeDocument/2006/relationships/slideLayout" Target="../slideLayouts/slideLayout277.xml"/><Relationship Id="rId14" Type="http://schemas.openxmlformats.org/officeDocument/2006/relationships/slideLayout" Target="../slideLayouts/slideLayout282.xml"/><Relationship Id="rId22" Type="http://schemas.openxmlformats.org/officeDocument/2006/relationships/slideLayout" Target="../slideLayouts/slideLayout290.xml"/><Relationship Id="rId27" Type="http://schemas.openxmlformats.org/officeDocument/2006/relationships/slideLayout" Target="../slideLayouts/slideLayout295.xml"/><Relationship Id="rId30" Type="http://schemas.openxmlformats.org/officeDocument/2006/relationships/tags" Target="../tags/tag90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slideLayout" Target="../slideLayouts/slideLayout309.xml"/><Relationship Id="rId18" Type="http://schemas.openxmlformats.org/officeDocument/2006/relationships/tags" Target="../tags/tag909.xml"/><Relationship Id="rId26" Type="http://schemas.openxmlformats.org/officeDocument/2006/relationships/tags" Target="../tags/tag917.xml"/><Relationship Id="rId3" Type="http://schemas.openxmlformats.org/officeDocument/2006/relationships/slideLayout" Target="../slideLayouts/slideLayout299.xml"/><Relationship Id="rId21" Type="http://schemas.openxmlformats.org/officeDocument/2006/relationships/tags" Target="../tags/tag912.xml"/><Relationship Id="rId34" Type="http://schemas.openxmlformats.org/officeDocument/2006/relationships/tags" Target="../tags/tag925.xml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17" Type="http://schemas.openxmlformats.org/officeDocument/2006/relationships/tags" Target="../tags/tag908.xml"/><Relationship Id="rId25" Type="http://schemas.openxmlformats.org/officeDocument/2006/relationships/tags" Target="../tags/tag916.xml"/><Relationship Id="rId33" Type="http://schemas.openxmlformats.org/officeDocument/2006/relationships/tags" Target="../tags/tag924.xml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298.xml"/><Relationship Id="rId16" Type="http://schemas.openxmlformats.org/officeDocument/2006/relationships/theme" Target="../theme/theme14.xml"/><Relationship Id="rId20" Type="http://schemas.openxmlformats.org/officeDocument/2006/relationships/tags" Target="../tags/tag911.xml"/><Relationship Id="rId29" Type="http://schemas.openxmlformats.org/officeDocument/2006/relationships/tags" Target="../tags/tag920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24" Type="http://schemas.openxmlformats.org/officeDocument/2006/relationships/tags" Target="../tags/tag915.xml"/><Relationship Id="rId32" Type="http://schemas.openxmlformats.org/officeDocument/2006/relationships/tags" Target="../tags/tag923.xml"/><Relationship Id="rId37" Type="http://schemas.openxmlformats.org/officeDocument/2006/relationships/oleObject" Target="../embeddings/oleObject112.bin"/><Relationship Id="rId5" Type="http://schemas.openxmlformats.org/officeDocument/2006/relationships/slideLayout" Target="../slideLayouts/slideLayout301.xml"/><Relationship Id="rId15" Type="http://schemas.openxmlformats.org/officeDocument/2006/relationships/slideLayout" Target="../slideLayouts/slideLayout311.xml"/><Relationship Id="rId23" Type="http://schemas.openxmlformats.org/officeDocument/2006/relationships/tags" Target="../tags/tag914.xml"/><Relationship Id="rId28" Type="http://schemas.openxmlformats.org/officeDocument/2006/relationships/tags" Target="../tags/tag919.xml"/><Relationship Id="rId36" Type="http://schemas.openxmlformats.org/officeDocument/2006/relationships/tags" Target="../tags/tag927.xml"/><Relationship Id="rId10" Type="http://schemas.openxmlformats.org/officeDocument/2006/relationships/slideLayout" Target="../slideLayouts/slideLayout306.xml"/><Relationship Id="rId19" Type="http://schemas.openxmlformats.org/officeDocument/2006/relationships/tags" Target="../tags/tag910.xml"/><Relationship Id="rId31" Type="http://schemas.openxmlformats.org/officeDocument/2006/relationships/tags" Target="../tags/tag922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slideLayout" Target="../slideLayouts/slideLayout310.xml"/><Relationship Id="rId22" Type="http://schemas.openxmlformats.org/officeDocument/2006/relationships/tags" Target="../tags/tag913.xml"/><Relationship Id="rId27" Type="http://schemas.openxmlformats.org/officeDocument/2006/relationships/tags" Target="../tags/tag918.xml"/><Relationship Id="rId30" Type="http://schemas.openxmlformats.org/officeDocument/2006/relationships/tags" Target="../tags/tag921.xml"/><Relationship Id="rId35" Type="http://schemas.openxmlformats.org/officeDocument/2006/relationships/tags" Target="../tags/tag92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tags" Target="../tags/tag4.xml"/><Relationship Id="rId26" Type="http://schemas.openxmlformats.org/officeDocument/2006/relationships/tags" Target="../tags/tag12.xml"/><Relationship Id="rId3" Type="http://schemas.openxmlformats.org/officeDocument/2006/relationships/slideLayout" Target="../slideLayouts/slideLayout31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tags" Target="../tags/tag3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image" Target="../media/image5.emf"/><Relationship Id="rId2" Type="http://schemas.openxmlformats.org/officeDocument/2006/relationships/slideLayout" Target="../slideLayouts/slideLayout30.xml"/><Relationship Id="rId16" Type="http://schemas.openxmlformats.org/officeDocument/2006/relationships/theme" Target="../theme/theme2.xml"/><Relationship Id="rId20" Type="http://schemas.openxmlformats.org/officeDocument/2006/relationships/tags" Target="../tags/tag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oleObject" Target="../embeddings/oleObject2.bin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38.xml"/><Relationship Id="rId19" Type="http://schemas.openxmlformats.org/officeDocument/2006/relationships/tags" Target="../tags/tag5.xml"/><Relationship Id="rId31" Type="http://schemas.openxmlformats.org/officeDocument/2006/relationships/tags" Target="../tags/tag17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slideLayout" Target="../slideLayouts/slideLayout61.xml"/><Relationship Id="rId26" Type="http://schemas.openxmlformats.org/officeDocument/2006/relationships/slideLayout" Target="../slideLayouts/slideLayout69.xml"/><Relationship Id="rId3" Type="http://schemas.openxmlformats.org/officeDocument/2006/relationships/slideLayout" Target="../slideLayouts/slideLayout46.xml"/><Relationship Id="rId21" Type="http://schemas.openxmlformats.org/officeDocument/2006/relationships/slideLayout" Target="../slideLayouts/slideLayout64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slideLayout" Target="../slideLayouts/slideLayout60.xml"/><Relationship Id="rId25" Type="http://schemas.openxmlformats.org/officeDocument/2006/relationships/slideLayout" Target="../slideLayouts/slideLayout68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63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24" Type="http://schemas.openxmlformats.org/officeDocument/2006/relationships/slideLayout" Target="../slideLayouts/slideLayout67.xml"/><Relationship Id="rId32" Type="http://schemas.openxmlformats.org/officeDocument/2006/relationships/image" Target="../media/image10.emf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23" Type="http://schemas.openxmlformats.org/officeDocument/2006/relationships/slideLayout" Target="../slideLayouts/slideLayout66.xml"/><Relationship Id="rId28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3.xml"/><Relationship Id="rId19" Type="http://schemas.openxmlformats.org/officeDocument/2006/relationships/slideLayout" Target="../slideLayouts/slideLayout62.xml"/><Relationship Id="rId31" Type="http://schemas.openxmlformats.org/officeDocument/2006/relationships/oleObject" Target="../embeddings/oleObject18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Relationship Id="rId22" Type="http://schemas.openxmlformats.org/officeDocument/2006/relationships/slideLayout" Target="../slideLayouts/slideLayout65.xml"/><Relationship Id="rId27" Type="http://schemas.openxmlformats.org/officeDocument/2006/relationships/slideLayout" Target="../slideLayouts/slideLayout70.xml"/><Relationship Id="rId30" Type="http://schemas.openxmlformats.org/officeDocument/2006/relationships/tags" Target="../tags/tag11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tags" Target="../tags/tag126.xml"/><Relationship Id="rId39" Type="http://schemas.openxmlformats.org/officeDocument/2006/relationships/tags" Target="../tags/tag139.xml"/><Relationship Id="rId21" Type="http://schemas.openxmlformats.org/officeDocument/2006/relationships/tags" Target="../tags/tag121.xml"/><Relationship Id="rId34" Type="http://schemas.openxmlformats.org/officeDocument/2006/relationships/tags" Target="../tags/tag134.xml"/><Relationship Id="rId42" Type="http://schemas.openxmlformats.org/officeDocument/2006/relationships/tags" Target="../tags/tag142.xml"/><Relationship Id="rId47" Type="http://schemas.openxmlformats.org/officeDocument/2006/relationships/tags" Target="../tags/tag147.xml"/><Relationship Id="rId50" Type="http://schemas.openxmlformats.org/officeDocument/2006/relationships/tags" Target="../tags/tag150.xml"/><Relationship Id="rId55" Type="http://schemas.openxmlformats.org/officeDocument/2006/relationships/tags" Target="../tags/tag155.xml"/><Relationship Id="rId63" Type="http://schemas.openxmlformats.org/officeDocument/2006/relationships/tags" Target="../tags/tag163.xml"/><Relationship Id="rId68" Type="http://schemas.openxmlformats.org/officeDocument/2006/relationships/tags" Target="../tags/tag168.xml"/><Relationship Id="rId76" Type="http://schemas.openxmlformats.org/officeDocument/2006/relationships/oleObject" Target="../embeddings/oleObject19.bin"/><Relationship Id="rId7" Type="http://schemas.openxmlformats.org/officeDocument/2006/relationships/slideLayout" Target="../slideLayouts/slideLayout78.xml"/><Relationship Id="rId71" Type="http://schemas.openxmlformats.org/officeDocument/2006/relationships/tags" Target="../tags/tag171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tags" Target="../tags/tag129.xml"/><Relationship Id="rId11" Type="http://schemas.openxmlformats.org/officeDocument/2006/relationships/slideLayout" Target="../slideLayouts/slideLayout82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tags" Target="../tags/tag145.xml"/><Relationship Id="rId53" Type="http://schemas.openxmlformats.org/officeDocument/2006/relationships/tags" Target="../tags/tag153.xml"/><Relationship Id="rId58" Type="http://schemas.openxmlformats.org/officeDocument/2006/relationships/tags" Target="../tags/tag158.xml"/><Relationship Id="rId66" Type="http://schemas.openxmlformats.org/officeDocument/2006/relationships/tags" Target="../tags/tag166.xml"/><Relationship Id="rId74" Type="http://schemas.openxmlformats.org/officeDocument/2006/relationships/tags" Target="../tags/tag174.xml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tags" Target="../tags/tag136.xml"/><Relationship Id="rId49" Type="http://schemas.openxmlformats.org/officeDocument/2006/relationships/tags" Target="../tags/tag149.xml"/><Relationship Id="rId57" Type="http://schemas.openxmlformats.org/officeDocument/2006/relationships/tags" Target="../tags/tag157.xml"/><Relationship Id="rId61" Type="http://schemas.openxmlformats.org/officeDocument/2006/relationships/tags" Target="../tags/tag161.xml"/><Relationship Id="rId10" Type="http://schemas.openxmlformats.org/officeDocument/2006/relationships/slideLayout" Target="../slideLayouts/slideLayout81.xml"/><Relationship Id="rId19" Type="http://schemas.openxmlformats.org/officeDocument/2006/relationships/theme" Target="../theme/theme4.xml"/><Relationship Id="rId31" Type="http://schemas.openxmlformats.org/officeDocument/2006/relationships/tags" Target="../tags/tag131.xml"/><Relationship Id="rId44" Type="http://schemas.openxmlformats.org/officeDocument/2006/relationships/tags" Target="../tags/tag144.xml"/><Relationship Id="rId52" Type="http://schemas.openxmlformats.org/officeDocument/2006/relationships/tags" Target="../tags/tag152.xml"/><Relationship Id="rId60" Type="http://schemas.openxmlformats.org/officeDocument/2006/relationships/tags" Target="../tags/tag160.xml"/><Relationship Id="rId65" Type="http://schemas.openxmlformats.org/officeDocument/2006/relationships/tags" Target="../tags/tag165.xml"/><Relationship Id="rId73" Type="http://schemas.openxmlformats.org/officeDocument/2006/relationships/tags" Target="../tags/tag173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43" Type="http://schemas.openxmlformats.org/officeDocument/2006/relationships/tags" Target="../tags/tag143.xml"/><Relationship Id="rId48" Type="http://schemas.openxmlformats.org/officeDocument/2006/relationships/tags" Target="../tags/tag148.xml"/><Relationship Id="rId56" Type="http://schemas.openxmlformats.org/officeDocument/2006/relationships/tags" Target="../tags/tag156.xml"/><Relationship Id="rId64" Type="http://schemas.openxmlformats.org/officeDocument/2006/relationships/tags" Target="../tags/tag164.xml"/><Relationship Id="rId69" Type="http://schemas.openxmlformats.org/officeDocument/2006/relationships/tags" Target="../tags/tag169.xml"/><Relationship Id="rId77" Type="http://schemas.openxmlformats.org/officeDocument/2006/relationships/image" Target="../media/image5.emf"/><Relationship Id="rId8" Type="http://schemas.openxmlformats.org/officeDocument/2006/relationships/slideLayout" Target="../slideLayouts/slideLayout79.xml"/><Relationship Id="rId51" Type="http://schemas.openxmlformats.org/officeDocument/2006/relationships/tags" Target="../tags/tag151.xml"/><Relationship Id="rId72" Type="http://schemas.openxmlformats.org/officeDocument/2006/relationships/tags" Target="../tags/tag172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tags" Target="../tags/tag146.xml"/><Relationship Id="rId59" Type="http://schemas.openxmlformats.org/officeDocument/2006/relationships/tags" Target="../tags/tag159.xml"/><Relationship Id="rId67" Type="http://schemas.openxmlformats.org/officeDocument/2006/relationships/tags" Target="../tags/tag167.xml"/><Relationship Id="rId20" Type="http://schemas.openxmlformats.org/officeDocument/2006/relationships/tags" Target="../tags/tag120.xml"/><Relationship Id="rId41" Type="http://schemas.openxmlformats.org/officeDocument/2006/relationships/tags" Target="../tags/tag141.xml"/><Relationship Id="rId54" Type="http://schemas.openxmlformats.org/officeDocument/2006/relationships/tags" Target="../tags/tag154.xml"/><Relationship Id="rId62" Type="http://schemas.openxmlformats.org/officeDocument/2006/relationships/tags" Target="../tags/tag162.xml"/><Relationship Id="rId70" Type="http://schemas.openxmlformats.org/officeDocument/2006/relationships/tags" Target="../tags/tag170.xml"/><Relationship Id="rId75" Type="http://schemas.openxmlformats.org/officeDocument/2006/relationships/tags" Target="../tags/tag175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tags" Target="../tags/tag361.xml"/><Relationship Id="rId26" Type="http://schemas.openxmlformats.org/officeDocument/2006/relationships/tags" Target="../tags/tag369.xml"/><Relationship Id="rId39" Type="http://schemas.openxmlformats.org/officeDocument/2006/relationships/image" Target="../media/image5.emf"/><Relationship Id="rId3" Type="http://schemas.openxmlformats.org/officeDocument/2006/relationships/slideLayout" Target="../slideLayouts/slideLayout92.xml"/><Relationship Id="rId21" Type="http://schemas.openxmlformats.org/officeDocument/2006/relationships/tags" Target="../tags/tag364.xml"/><Relationship Id="rId34" Type="http://schemas.openxmlformats.org/officeDocument/2006/relationships/tags" Target="../tags/tag377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theme" Target="../theme/theme5.xml"/><Relationship Id="rId25" Type="http://schemas.openxmlformats.org/officeDocument/2006/relationships/tags" Target="../tags/tag368.xml"/><Relationship Id="rId33" Type="http://schemas.openxmlformats.org/officeDocument/2006/relationships/tags" Target="../tags/tag376.xml"/><Relationship Id="rId38" Type="http://schemas.openxmlformats.org/officeDocument/2006/relationships/oleObject" Target="../embeddings/oleObject38.bin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tags" Target="../tags/tag363.xml"/><Relationship Id="rId29" Type="http://schemas.openxmlformats.org/officeDocument/2006/relationships/tags" Target="../tags/tag372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24" Type="http://schemas.openxmlformats.org/officeDocument/2006/relationships/tags" Target="../tags/tag367.xml"/><Relationship Id="rId32" Type="http://schemas.openxmlformats.org/officeDocument/2006/relationships/tags" Target="../tags/tag375.xml"/><Relationship Id="rId37" Type="http://schemas.openxmlformats.org/officeDocument/2006/relationships/tags" Target="../tags/tag38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tags" Target="../tags/tag366.xml"/><Relationship Id="rId28" Type="http://schemas.openxmlformats.org/officeDocument/2006/relationships/tags" Target="../tags/tag371.xml"/><Relationship Id="rId36" Type="http://schemas.openxmlformats.org/officeDocument/2006/relationships/tags" Target="../tags/tag379.xml"/><Relationship Id="rId10" Type="http://schemas.openxmlformats.org/officeDocument/2006/relationships/slideLayout" Target="../slideLayouts/slideLayout99.xml"/><Relationship Id="rId19" Type="http://schemas.openxmlformats.org/officeDocument/2006/relationships/tags" Target="../tags/tag362.xml"/><Relationship Id="rId31" Type="http://schemas.openxmlformats.org/officeDocument/2006/relationships/tags" Target="../tags/tag374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tags" Target="../tags/tag365.xml"/><Relationship Id="rId27" Type="http://schemas.openxmlformats.org/officeDocument/2006/relationships/tags" Target="../tags/tag370.xml"/><Relationship Id="rId30" Type="http://schemas.openxmlformats.org/officeDocument/2006/relationships/tags" Target="../tags/tag373.xml"/><Relationship Id="rId35" Type="http://schemas.openxmlformats.org/officeDocument/2006/relationships/tags" Target="../tags/tag37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tags" Target="../tags/tag477.xml"/><Relationship Id="rId26" Type="http://schemas.openxmlformats.org/officeDocument/2006/relationships/tags" Target="../tags/tag485.xml"/><Relationship Id="rId39" Type="http://schemas.openxmlformats.org/officeDocument/2006/relationships/tags" Target="../tags/tag498.xml"/><Relationship Id="rId21" Type="http://schemas.openxmlformats.org/officeDocument/2006/relationships/tags" Target="../tags/tag480.xml"/><Relationship Id="rId34" Type="http://schemas.openxmlformats.org/officeDocument/2006/relationships/tags" Target="../tags/tag493.xml"/><Relationship Id="rId42" Type="http://schemas.openxmlformats.org/officeDocument/2006/relationships/tags" Target="../tags/tag501.xml"/><Relationship Id="rId47" Type="http://schemas.openxmlformats.org/officeDocument/2006/relationships/tags" Target="../tags/tag506.xml"/><Relationship Id="rId50" Type="http://schemas.openxmlformats.org/officeDocument/2006/relationships/tags" Target="../tags/tag509.xml"/><Relationship Id="rId55" Type="http://schemas.openxmlformats.org/officeDocument/2006/relationships/tags" Target="../tags/tag514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theme" Target="../theme/theme6.xml"/><Relationship Id="rId25" Type="http://schemas.openxmlformats.org/officeDocument/2006/relationships/tags" Target="../tags/tag484.xml"/><Relationship Id="rId33" Type="http://schemas.openxmlformats.org/officeDocument/2006/relationships/tags" Target="../tags/tag492.xml"/><Relationship Id="rId38" Type="http://schemas.openxmlformats.org/officeDocument/2006/relationships/tags" Target="../tags/tag497.xml"/><Relationship Id="rId46" Type="http://schemas.openxmlformats.org/officeDocument/2006/relationships/tags" Target="../tags/tag505.xm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tags" Target="../tags/tag479.xml"/><Relationship Id="rId29" Type="http://schemas.openxmlformats.org/officeDocument/2006/relationships/tags" Target="../tags/tag488.xml"/><Relationship Id="rId41" Type="http://schemas.openxmlformats.org/officeDocument/2006/relationships/tags" Target="../tags/tag500.xml"/><Relationship Id="rId54" Type="http://schemas.openxmlformats.org/officeDocument/2006/relationships/tags" Target="../tags/tag513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tags" Target="../tags/tag483.xml"/><Relationship Id="rId32" Type="http://schemas.openxmlformats.org/officeDocument/2006/relationships/tags" Target="../tags/tag491.xml"/><Relationship Id="rId37" Type="http://schemas.openxmlformats.org/officeDocument/2006/relationships/tags" Target="../tags/tag496.xml"/><Relationship Id="rId40" Type="http://schemas.openxmlformats.org/officeDocument/2006/relationships/tags" Target="../tags/tag499.xml"/><Relationship Id="rId45" Type="http://schemas.openxmlformats.org/officeDocument/2006/relationships/tags" Target="../tags/tag504.xml"/><Relationship Id="rId53" Type="http://schemas.openxmlformats.org/officeDocument/2006/relationships/tags" Target="../tags/tag512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tags" Target="../tags/tag482.xml"/><Relationship Id="rId28" Type="http://schemas.openxmlformats.org/officeDocument/2006/relationships/tags" Target="../tags/tag487.xml"/><Relationship Id="rId36" Type="http://schemas.openxmlformats.org/officeDocument/2006/relationships/tags" Target="../tags/tag495.xml"/><Relationship Id="rId49" Type="http://schemas.openxmlformats.org/officeDocument/2006/relationships/tags" Target="../tags/tag508.xml"/><Relationship Id="rId57" Type="http://schemas.openxmlformats.org/officeDocument/2006/relationships/image" Target="../media/image5.emf"/><Relationship Id="rId10" Type="http://schemas.openxmlformats.org/officeDocument/2006/relationships/slideLayout" Target="../slideLayouts/slideLayout115.xml"/><Relationship Id="rId19" Type="http://schemas.openxmlformats.org/officeDocument/2006/relationships/tags" Target="../tags/tag478.xml"/><Relationship Id="rId31" Type="http://schemas.openxmlformats.org/officeDocument/2006/relationships/tags" Target="../tags/tag490.xml"/><Relationship Id="rId44" Type="http://schemas.openxmlformats.org/officeDocument/2006/relationships/tags" Target="../tags/tag503.xml"/><Relationship Id="rId52" Type="http://schemas.openxmlformats.org/officeDocument/2006/relationships/tags" Target="../tags/tag511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tags" Target="../tags/tag481.xml"/><Relationship Id="rId27" Type="http://schemas.openxmlformats.org/officeDocument/2006/relationships/tags" Target="../tags/tag486.xml"/><Relationship Id="rId30" Type="http://schemas.openxmlformats.org/officeDocument/2006/relationships/tags" Target="../tags/tag489.xml"/><Relationship Id="rId35" Type="http://schemas.openxmlformats.org/officeDocument/2006/relationships/tags" Target="../tags/tag494.xml"/><Relationship Id="rId43" Type="http://schemas.openxmlformats.org/officeDocument/2006/relationships/tags" Target="../tags/tag502.xml"/><Relationship Id="rId48" Type="http://schemas.openxmlformats.org/officeDocument/2006/relationships/tags" Target="../tags/tag507.xml"/><Relationship Id="rId56" Type="http://schemas.openxmlformats.org/officeDocument/2006/relationships/oleObject" Target="../embeddings/oleObject55.bin"/><Relationship Id="rId8" Type="http://schemas.openxmlformats.org/officeDocument/2006/relationships/slideLayout" Target="../slideLayouts/slideLayout113.xml"/><Relationship Id="rId51" Type="http://schemas.openxmlformats.org/officeDocument/2006/relationships/tags" Target="../tags/tag510.xml"/><Relationship Id="rId3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4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oleObject" Target="../embeddings/oleObject72.bin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tags" Target="../tags/tag663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slideLayout" Target="../slideLayouts/slideLayout164.xml"/><Relationship Id="rId18" Type="http://schemas.openxmlformats.org/officeDocument/2006/relationships/slideLayout" Target="../slideLayouts/slideLayout169.xml"/><Relationship Id="rId26" Type="http://schemas.openxmlformats.org/officeDocument/2006/relationships/slideLayout" Target="../slideLayouts/slideLayout177.xml"/><Relationship Id="rId3" Type="http://schemas.openxmlformats.org/officeDocument/2006/relationships/slideLayout" Target="../slideLayouts/slideLayout154.xml"/><Relationship Id="rId21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slideLayout" Target="../slideLayouts/slideLayout168.xml"/><Relationship Id="rId25" Type="http://schemas.openxmlformats.org/officeDocument/2006/relationships/slideLayout" Target="../slideLayouts/slideLayout176.xml"/><Relationship Id="rId2" Type="http://schemas.openxmlformats.org/officeDocument/2006/relationships/slideLayout" Target="../slideLayouts/slideLayout153.xml"/><Relationship Id="rId16" Type="http://schemas.openxmlformats.org/officeDocument/2006/relationships/slideLayout" Target="../slideLayouts/slideLayout167.xml"/><Relationship Id="rId20" Type="http://schemas.openxmlformats.org/officeDocument/2006/relationships/slideLayout" Target="../slideLayouts/slideLayout171.xml"/><Relationship Id="rId29" Type="http://schemas.openxmlformats.org/officeDocument/2006/relationships/theme" Target="../theme/theme8.xml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24" Type="http://schemas.openxmlformats.org/officeDocument/2006/relationships/slideLayout" Target="../slideLayouts/slideLayout17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56.xml"/><Relationship Id="rId15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74.xml"/><Relationship Id="rId28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61.xml"/><Relationship Id="rId19" Type="http://schemas.openxmlformats.org/officeDocument/2006/relationships/slideLayout" Target="../slideLayouts/slideLayout170.xml"/><Relationship Id="rId31" Type="http://schemas.openxmlformats.org/officeDocument/2006/relationships/oleObject" Target="../embeddings/oleObject74.bin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slideLayout" Target="../slideLayouts/slideLayout165.xml"/><Relationship Id="rId22" Type="http://schemas.openxmlformats.org/officeDocument/2006/relationships/slideLayout" Target="../slideLayouts/slideLayout173.xml"/><Relationship Id="rId27" Type="http://schemas.openxmlformats.org/officeDocument/2006/relationships/slideLayout" Target="../slideLayouts/slideLayout178.xml"/><Relationship Id="rId30" Type="http://schemas.openxmlformats.org/officeDocument/2006/relationships/tags" Target="../tags/tag67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7.xml"/><Relationship Id="rId13" Type="http://schemas.openxmlformats.org/officeDocument/2006/relationships/slideLayout" Target="../slideLayouts/slideLayout192.xml"/><Relationship Id="rId18" Type="http://schemas.openxmlformats.org/officeDocument/2006/relationships/tags" Target="../tags/tag672.xml"/><Relationship Id="rId26" Type="http://schemas.openxmlformats.org/officeDocument/2006/relationships/tags" Target="../tags/tag680.xml"/><Relationship Id="rId39" Type="http://schemas.openxmlformats.org/officeDocument/2006/relationships/image" Target="../media/image5.emf"/><Relationship Id="rId3" Type="http://schemas.openxmlformats.org/officeDocument/2006/relationships/slideLayout" Target="../slideLayouts/slideLayout182.xml"/><Relationship Id="rId21" Type="http://schemas.openxmlformats.org/officeDocument/2006/relationships/tags" Target="../tags/tag675.xml"/><Relationship Id="rId34" Type="http://schemas.openxmlformats.org/officeDocument/2006/relationships/tags" Target="../tags/tag688.xml"/><Relationship Id="rId7" Type="http://schemas.openxmlformats.org/officeDocument/2006/relationships/slideLayout" Target="../slideLayouts/slideLayout186.xml"/><Relationship Id="rId12" Type="http://schemas.openxmlformats.org/officeDocument/2006/relationships/slideLayout" Target="../slideLayouts/slideLayout191.xml"/><Relationship Id="rId17" Type="http://schemas.openxmlformats.org/officeDocument/2006/relationships/theme" Target="../theme/theme9.xml"/><Relationship Id="rId25" Type="http://schemas.openxmlformats.org/officeDocument/2006/relationships/tags" Target="../tags/tag679.xml"/><Relationship Id="rId33" Type="http://schemas.openxmlformats.org/officeDocument/2006/relationships/tags" Target="../tags/tag687.xml"/><Relationship Id="rId38" Type="http://schemas.openxmlformats.org/officeDocument/2006/relationships/oleObject" Target="../embeddings/oleObject75.bin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0" Type="http://schemas.openxmlformats.org/officeDocument/2006/relationships/tags" Target="../tags/tag674.xml"/><Relationship Id="rId29" Type="http://schemas.openxmlformats.org/officeDocument/2006/relationships/tags" Target="../tags/tag683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Relationship Id="rId11" Type="http://schemas.openxmlformats.org/officeDocument/2006/relationships/slideLayout" Target="../slideLayouts/slideLayout190.xml"/><Relationship Id="rId24" Type="http://schemas.openxmlformats.org/officeDocument/2006/relationships/tags" Target="../tags/tag678.xml"/><Relationship Id="rId32" Type="http://schemas.openxmlformats.org/officeDocument/2006/relationships/tags" Target="../tags/tag686.xml"/><Relationship Id="rId37" Type="http://schemas.openxmlformats.org/officeDocument/2006/relationships/tags" Target="../tags/tag691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23" Type="http://schemas.openxmlformats.org/officeDocument/2006/relationships/tags" Target="../tags/tag677.xml"/><Relationship Id="rId28" Type="http://schemas.openxmlformats.org/officeDocument/2006/relationships/tags" Target="../tags/tag682.xml"/><Relationship Id="rId36" Type="http://schemas.openxmlformats.org/officeDocument/2006/relationships/tags" Target="../tags/tag690.xml"/><Relationship Id="rId10" Type="http://schemas.openxmlformats.org/officeDocument/2006/relationships/slideLayout" Target="../slideLayouts/slideLayout189.xml"/><Relationship Id="rId19" Type="http://schemas.openxmlformats.org/officeDocument/2006/relationships/tags" Target="../tags/tag673.xml"/><Relationship Id="rId31" Type="http://schemas.openxmlformats.org/officeDocument/2006/relationships/tags" Target="../tags/tag685.xml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tags" Target="../tags/tag676.xml"/><Relationship Id="rId27" Type="http://schemas.openxmlformats.org/officeDocument/2006/relationships/tags" Target="../tags/tag681.xml"/><Relationship Id="rId30" Type="http://schemas.openxmlformats.org/officeDocument/2006/relationships/tags" Target="../tags/tag684.xml"/><Relationship Id="rId35" Type="http://schemas.openxmlformats.org/officeDocument/2006/relationships/tags" Target="../tags/tag68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E799F0AF-88FD-4DC4-AD07-2718D64F31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5255243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E799F0AF-88FD-4DC4-AD07-2718D64F31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0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D3B365C8-7875-425D-97A4-19CC295F61B0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0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GB"/>
              <a:t>Tata Steel  |  Zeremis Presentation  |  October 2023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0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21580"/>
            <a:ext cx="8032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1325946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70" r:id="rId3"/>
    <p:sldLayoutId id="2147483671" r:id="rId4"/>
    <p:sldLayoutId id="2147483664" r:id="rId5"/>
    <p:sldLayoutId id="2147483656" r:id="rId6"/>
    <p:sldLayoutId id="2147483665" r:id="rId7"/>
    <p:sldLayoutId id="2147483666" r:id="rId8"/>
    <p:sldLayoutId id="2147483667" r:id="rId9"/>
    <p:sldLayoutId id="2147483668" r:id="rId10"/>
    <p:sldLayoutId id="2147483669" r:id="rId11"/>
    <p:sldLayoutId id="2147483657" r:id="rId12"/>
    <p:sldLayoutId id="2147483658" r:id="rId13"/>
    <p:sldLayoutId id="2147483677" r:id="rId14"/>
    <p:sldLayoutId id="2147483661" r:id="rId15"/>
    <p:sldLayoutId id="2147483651" r:id="rId16"/>
    <p:sldLayoutId id="2147483659" r:id="rId17"/>
    <p:sldLayoutId id="2147483662" r:id="rId18"/>
    <p:sldLayoutId id="2147483678" r:id="rId19"/>
    <p:sldLayoutId id="2147483652" r:id="rId20"/>
    <p:sldLayoutId id="2147483674" r:id="rId21"/>
    <p:sldLayoutId id="2147483675" r:id="rId22"/>
    <p:sldLayoutId id="2147483673" r:id="rId23"/>
    <p:sldLayoutId id="2147483676" r:id="rId24"/>
    <p:sldLayoutId id="2147483663" r:id="rId25"/>
    <p:sldLayoutId id="2147483679" r:id="rId26"/>
    <p:sldLayoutId id="2147483654" r:id="rId27"/>
    <p:sldLayoutId id="2147483655" r:id="rId28"/>
  </p:sldLayoutIdLst>
  <p:transition>
    <p:fade/>
  </p:transition>
  <p:hf hdr="0" dt="0"/>
  <p:txStyles>
    <p:titleStyle>
      <a:lvl1pPr algn="l" defTabSz="685800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4" pos="5409" userDrawn="1">
          <p15:clr>
            <a:srgbClr val="F26B43"/>
          </p15:clr>
        </p15:guide>
        <p15:guide id="5" orient="horz" pos="268" userDrawn="1">
          <p15:clr>
            <a:srgbClr val="F26B43"/>
          </p15:clr>
        </p15:guide>
        <p15:guide id="7" orient="horz" pos="816" userDrawn="1">
          <p15:clr>
            <a:srgbClr val="F26B43"/>
          </p15:clr>
        </p15:guide>
        <p15:guide id="10" orient="horz" pos="2919" userDrawn="1">
          <p15:clr>
            <a:srgbClr val="F26B43"/>
          </p15:clr>
        </p15:guide>
        <p15:guide id="11" pos="351" userDrawn="1">
          <p15:clr>
            <a:srgbClr val="F26B43"/>
          </p15:clr>
        </p15:guide>
        <p15:guide id="12" pos="2833" userDrawn="1">
          <p15:clr>
            <a:srgbClr val="F26B43"/>
          </p15:clr>
        </p15:guide>
        <p15:guide id="13" pos="2927" userDrawn="1">
          <p15:clr>
            <a:srgbClr val="F26B43"/>
          </p15:clr>
        </p15:guide>
        <p15:guide id="14" pos="2283" userDrawn="1">
          <p15:clr>
            <a:srgbClr val="F26B43"/>
          </p15:clr>
        </p15:guide>
        <p15:guide id="15" pos="3477" userDrawn="1">
          <p15:clr>
            <a:srgbClr val="F26B43"/>
          </p15:clr>
        </p15:guide>
        <p15:guide id="16" pos="2189" userDrawn="1">
          <p15:clr>
            <a:srgbClr val="F26B43"/>
          </p15:clr>
        </p15:guide>
        <p15:guide id="17" pos="3571" userDrawn="1">
          <p15:clr>
            <a:srgbClr val="F26B43"/>
          </p15:clr>
        </p15:guide>
        <p15:guide id="18" pos="1640" userDrawn="1">
          <p15:clr>
            <a:srgbClr val="F26B43"/>
          </p15:clr>
        </p15:guide>
        <p15:guide id="19" pos="1545" userDrawn="1">
          <p15:clr>
            <a:srgbClr val="F26B43"/>
          </p15:clr>
        </p15:guide>
        <p15:guide id="20" pos="4120" userDrawn="1">
          <p15:clr>
            <a:srgbClr val="F26B43"/>
          </p15:clr>
        </p15:guide>
        <p15:guide id="21" pos="4215" userDrawn="1">
          <p15:clr>
            <a:srgbClr val="F26B43"/>
          </p15:clr>
        </p15:guide>
        <p15:guide id="22" pos="4764" userDrawn="1">
          <p15:clr>
            <a:srgbClr val="F26B43"/>
          </p15:clr>
        </p15:guide>
        <p15:guide id="23" pos="995" userDrawn="1">
          <p15:clr>
            <a:srgbClr val="F26B43"/>
          </p15:clr>
        </p15:guide>
        <p15:guide id="24" pos="900" userDrawn="1">
          <p15:clr>
            <a:srgbClr val="F26B43"/>
          </p15:clr>
        </p15:guide>
        <p15:guide id="25" pos="486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D79D840-1B43-4B73-9229-A43AD2B160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519062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73" imgH="473" progId="TCLayout.ActiveDocument.1">
                  <p:embed/>
                </p:oleObj>
              </mc:Choice>
              <mc:Fallback>
                <p:oleObj name="think-cell Slide" r:id="rId32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D79D840-1B43-4B73-9229-A43AD2B16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0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2D79A38F-B6C5-43E5-89C7-6DCAAF71E3BD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0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0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21580"/>
            <a:ext cx="8032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990587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1" r:id="rId1"/>
    <p:sldLayoutId id="2147484152" r:id="rId2"/>
    <p:sldLayoutId id="2147484153" r:id="rId3"/>
    <p:sldLayoutId id="2147484154" r:id="rId4"/>
    <p:sldLayoutId id="2147484155" r:id="rId5"/>
    <p:sldLayoutId id="2147484156" r:id="rId6"/>
    <p:sldLayoutId id="2147484157" r:id="rId7"/>
    <p:sldLayoutId id="2147484158" r:id="rId8"/>
    <p:sldLayoutId id="2147484159" r:id="rId9"/>
    <p:sldLayoutId id="2147484160" r:id="rId10"/>
    <p:sldLayoutId id="2147484161" r:id="rId11"/>
    <p:sldLayoutId id="2147484162" r:id="rId12"/>
    <p:sldLayoutId id="2147484163" r:id="rId13"/>
    <p:sldLayoutId id="2147484164" r:id="rId14"/>
    <p:sldLayoutId id="2147484165" r:id="rId15"/>
    <p:sldLayoutId id="2147484166" r:id="rId16"/>
    <p:sldLayoutId id="2147484167" r:id="rId17"/>
    <p:sldLayoutId id="2147484168" r:id="rId18"/>
    <p:sldLayoutId id="2147484169" r:id="rId19"/>
    <p:sldLayoutId id="2147484170" r:id="rId20"/>
    <p:sldLayoutId id="2147484171" r:id="rId21"/>
    <p:sldLayoutId id="2147484172" r:id="rId22"/>
    <p:sldLayoutId id="2147484173" r:id="rId23"/>
    <p:sldLayoutId id="2147484174" r:id="rId24"/>
    <p:sldLayoutId id="2147484175" r:id="rId25"/>
    <p:sldLayoutId id="2147484176" r:id="rId26"/>
    <p:sldLayoutId id="2147484177" r:id="rId27"/>
    <p:sldLayoutId id="2147484178" r:id="rId28"/>
    <p:sldLayoutId id="2147484179" r:id="rId29"/>
  </p:sldLayoutIdLst>
  <p:transition>
    <p:fade/>
  </p:transition>
  <p:hf hdr="0" dt="0"/>
  <p:txStyles>
    <p:titleStyle>
      <a:lvl1pPr algn="l" defTabSz="685800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816594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Tek">
            <a:extLst>
              <a:ext uri="{FF2B5EF4-FFF2-40B4-BE49-F238E27FC236}">
                <a16:creationId xmlns:a16="http://schemas.microsoft.com/office/drawing/2014/main" id="{6320BD4D-0AC4-4979-9EA3-43589459319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4" name="Slide Number Placeholder 12">
            <a:extLst>
              <a:ext uri="{FF2B5EF4-FFF2-40B4-BE49-F238E27FC236}">
                <a16:creationId xmlns:a16="http://schemas.microsoft.com/office/drawing/2014/main" id="{7FB2AEED-4739-45A7-BE05-42BC83084D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050053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1" r:id="rId1"/>
    <p:sldLayoutId id="2147484212" r:id="rId2"/>
    <p:sldLayoutId id="2147484213" r:id="rId3"/>
    <p:sldLayoutId id="2147484214" r:id="rId4"/>
    <p:sldLayoutId id="2147484215" r:id="rId5"/>
    <p:sldLayoutId id="2147484216" r:id="rId6"/>
    <p:sldLayoutId id="2147484217" r:id="rId7"/>
    <p:sldLayoutId id="2147484218" r:id="rId8"/>
    <p:sldLayoutId id="2147484219" r:id="rId9"/>
    <p:sldLayoutId id="2147484220" r:id="rId10"/>
    <p:sldLayoutId id="2147484221" r:id="rId11"/>
    <p:sldLayoutId id="2147484222" r:id="rId12"/>
    <p:sldLayoutId id="2147484223" r:id="rId13"/>
    <p:sldLayoutId id="2147484224" r:id="rId14"/>
    <p:sldLayoutId id="2147484225" r:id="rId15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9A3FAB-2874-4E03-A7E5-A9A01AA9E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3290927024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9A3FAB-2874-4E03-A7E5-A9A01AA9E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76353AC6-7D84-476C-9DE6-B458D792E1E8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21581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08844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2" r:id="rId1"/>
    <p:sldLayoutId id="2147484253" r:id="rId2"/>
    <p:sldLayoutId id="2147484254" r:id="rId3"/>
    <p:sldLayoutId id="2147484255" r:id="rId4"/>
    <p:sldLayoutId id="2147484256" r:id="rId5"/>
    <p:sldLayoutId id="2147484257" r:id="rId6"/>
    <p:sldLayoutId id="2147484258" r:id="rId7"/>
    <p:sldLayoutId id="2147484259" r:id="rId8"/>
    <p:sldLayoutId id="2147484260" r:id="rId9"/>
    <p:sldLayoutId id="2147484261" r:id="rId10"/>
    <p:sldLayoutId id="2147484262" r:id="rId11"/>
    <p:sldLayoutId id="2147484263" r:id="rId12"/>
    <p:sldLayoutId id="2147484264" r:id="rId13"/>
    <p:sldLayoutId id="2147484265" r:id="rId14"/>
    <p:sldLayoutId id="2147484266" r:id="rId15"/>
    <p:sldLayoutId id="2147484267" r:id="rId16"/>
    <p:sldLayoutId id="2147484268" r:id="rId17"/>
    <p:sldLayoutId id="2147484269" r:id="rId18"/>
    <p:sldLayoutId id="2147484270" r:id="rId19"/>
    <p:sldLayoutId id="2147484271" r:id="rId20"/>
    <p:sldLayoutId id="2147484272" r:id="rId21"/>
    <p:sldLayoutId id="2147484273" r:id="rId22"/>
    <p:sldLayoutId id="2147484274" r:id="rId23"/>
    <p:sldLayoutId id="2147484275" r:id="rId24"/>
    <p:sldLayoutId id="2147484276" r:id="rId25"/>
    <p:sldLayoutId id="2147484277" r:id="rId26"/>
    <p:sldLayoutId id="2147484278" r:id="rId27"/>
    <p:sldLayoutId id="2147484279" r:id="rId28"/>
    <p:sldLayoutId id="2147484280" r:id="rId29"/>
  </p:sldLayoutIdLst>
  <p:transition>
    <p:fade/>
  </p:transition>
  <p:hf hdr="0" dt="0"/>
  <p:txStyles>
    <p:titleStyle>
      <a:lvl1pPr algn="l" defTabSz="685783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73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504FF90-34DC-4F21-BE2F-37C24985B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4160476094"/>
              </p:ext>
            </p:extLst>
          </p:nvPr>
        </p:nvGraphicFramePr>
        <p:xfrm>
          <a:off x="1192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59" imgH="360" progId="TCLayout.ActiveDocument.1">
                  <p:embed/>
                </p:oleObj>
              </mc:Choice>
              <mc:Fallback>
                <p:oleObj name="think-cell Slide" r:id="rId31" imgW="359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504FF90-34DC-4F21-BE2F-37C24985B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BB353188-EA95-48B1-A2AB-AC8B0D362006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2" y="5021582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3472249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3" r:id="rId9"/>
    <p:sldLayoutId id="2147484494" r:id="rId10"/>
    <p:sldLayoutId id="2147484495" r:id="rId11"/>
    <p:sldLayoutId id="2147484496" r:id="rId12"/>
    <p:sldLayoutId id="2147484497" r:id="rId13"/>
    <p:sldLayoutId id="2147484498" r:id="rId14"/>
    <p:sldLayoutId id="2147484499" r:id="rId15"/>
    <p:sldLayoutId id="2147484500" r:id="rId16"/>
    <p:sldLayoutId id="2147484501" r:id="rId17"/>
    <p:sldLayoutId id="2147484502" r:id="rId18"/>
    <p:sldLayoutId id="2147484503" r:id="rId19"/>
    <p:sldLayoutId id="2147484504" r:id="rId20"/>
    <p:sldLayoutId id="2147484505" r:id="rId21"/>
    <p:sldLayoutId id="2147484506" r:id="rId22"/>
    <p:sldLayoutId id="2147484507" r:id="rId23"/>
    <p:sldLayoutId id="2147484508" r:id="rId24"/>
    <p:sldLayoutId id="2147484509" r:id="rId25"/>
    <p:sldLayoutId id="2147484510" r:id="rId26"/>
    <p:sldLayoutId id="2147484511" r:id="rId27"/>
    <p:sldLayoutId id="2147484512" r:id="rId28"/>
  </p:sldLayoutIdLst>
  <p:transition>
    <p:fade/>
  </p:transition>
  <p:hf hdr="0" dt="0"/>
  <p:txStyles>
    <p:titleStyle>
      <a:lvl1pPr algn="l" defTabSz="685766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82" indent="-359982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64" indent="-359982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46" indent="-359982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66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856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39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22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05" indent="-171442" algn="l" defTabSz="685766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6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49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2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15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97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0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64" algn="l" defTabSz="68576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8490965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Tek">
            <a:extLst>
              <a:ext uri="{FF2B5EF4-FFF2-40B4-BE49-F238E27FC236}">
                <a16:creationId xmlns:a16="http://schemas.microsoft.com/office/drawing/2014/main" id="{6320BD4D-0AC4-4979-9EA3-43589459319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4" name="Slide Number Placeholder 12">
            <a:extLst>
              <a:ext uri="{FF2B5EF4-FFF2-40B4-BE49-F238E27FC236}">
                <a16:creationId xmlns:a16="http://schemas.microsoft.com/office/drawing/2014/main" id="{7FB2AEED-4739-45A7-BE05-42BC83084D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550590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  <p:sldLayoutId id="2147484527" r:id="rId14"/>
    <p:sldLayoutId id="2147484528" r:id="rId15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3135963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Tek">
            <a:extLst>
              <a:ext uri="{FF2B5EF4-FFF2-40B4-BE49-F238E27FC236}">
                <a16:creationId xmlns:a16="http://schemas.microsoft.com/office/drawing/2014/main" id="{6320BD4D-0AC4-4979-9EA3-435894593195}"/>
              </a:ext>
            </a:extLst>
          </p:cNvPr>
          <p:cNvSpPr txBox="1"/>
          <p:nvPr userDrawn="1"/>
        </p:nvSpPr>
        <p:spPr bwMode="gray">
          <a:xfrm>
            <a:off x="3042896" y="5003013"/>
            <a:ext cx="3058209" cy="103875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 rtl="0"/>
            <a:r>
              <a:rPr lang="en-GB" sz="675" b="1" cap="all" spc="-20" baseline="0" noProof="0">
                <a:solidFill>
                  <a:srgbClr val="FF0000"/>
                </a:solidFill>
                <a:latin typeface="+mn-lt"/>
                <a:ea typeface="+mn-ea"/>
                <a:cs typeface="+mn-cs"/>
                <a:sym typeface="+mn-lt"/>
              </a:rPr>
              <a:t>Strictly confidential – contains company sensitive information</a:t>
            </a: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4" name="Slide Number Placeholder 12">
            <a:extLst>
              <a:ext uri="{FF2B5EF4-FFF2-40B4-BE49-F238E27FC236}">
                <a16:creationId xmlns:a16="http://schemas.microsoft.com/office/drawing/2014/main" id="{7FB2AEED-4739-45A7-BE05-42BC83084DC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8381146" y="4809148"/>
            <a:ext cx="346802" cy="33435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txBody>
          <a:bodyPr vert="horz" wrap="none" lIns="72000" tIns="72000" rIns="72000" bIns="0" rtlCol="0" anchor="t" anchorCtr="0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nl-NL" sz="700" b="1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endParaRPr lang="en-GB" sz="700">
              <a:solidFill>
                <a:srgbClr val="FFFFFF"/>
              </a:solidFill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14522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504FF90-34DC-4F21-BE2F-37C24985B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248873221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59" imgH="360" progId="TCLayout.ActiveDocument.1">
                  <p:embed/>
                </p:oleObj>
              </mc:Choice>
              <mc:Fallback>
                <p:oleObj name="think-cell Slide" r:id="rId31" imgW="359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504FF90-34DC-4F21-BE2F-37C24985B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674865E7-6396-4F4F-88BB-256E751F4E19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21581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3663177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</p:sldLayoutIdLst>
  <p:transition>
    <p:fade/>
  </p:transition>
  <p:hf hdr="0" dt="0"/>
  <p:txStyles>
    <p:titleStyle>
      <a:lvl1pPr algn="l" defTabSz="685783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73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044724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6" imgW="413" imgH="416" progId="TCLayout.ActiveDocument.1">
                  <p:embed/>
                </p:oleObj>
              </mc:Choice>
              <mc:Fallback>
                <p:oleObj name="think-cell Slide" r:id="rId7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21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4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6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7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7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6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7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7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6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7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7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6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6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6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6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6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6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  <p:sp>
        <p:nvSpPr>
          <p:cNvPr id="149" name="Rectangle 148" hidden="1">
            <a:extLst>
              <a:ext uri="{FF2B5EF4-FFF2-40B4-BE49-F238E27FC236}">
                <a16:creationId xmlns:a16="http://schemas.microsoft.com/office/drawing/2014/main" id="{E476095E-A07A-4E97-91EB-A6881575426A}"/>
              </a:ext>
            </a:extLst>
          </p:cNvPr>
          <p:cNvSpPr/>
          <p:nvPr>
            <p:custDataLst>
              <p:tags r:id="rId25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0" name="Grid" hidden="1">
            <a:extLst>
              <a:ext uri="{FF2B5EF4-FFF2-40B4-BE49-F238E27FC236}">
                <a16:creationId xmlns:a16="http://schemas.microsoft.com/office/drawing/2014/main" id="{0B2E504D-86E1-4E8B-B8B2-CD92CAB6E9E6}"/>
              </a:ext>
            </a:extLst>
          </p:cNvPr>
          <p:cNvGrpSpPr/>
          <p:nvPr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151" name="slide margin">
              <a:extLst>
                <a:ext uri="{FF2B5EF4-FFF2-40B4-BE49-F238E27FC236}">
                  <a16:creationId xmlns:a16="http://schemas.microsoft.com/office/drawing/2014/main" id="{27BCD9B5-3BCD-42FD-BF1A-FC953E949558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B8D72D9D-E42D-435A-82D6-E18937D0CC81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9D169235-A192-4556-B1F8-F9798C29C097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F8A3D776-DB71-4418-B31D-3D14A9E209F4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E520AE04-D484-4C19-B1ED-4F82F72F558B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A9FC6455-FD2D-4207-ADDA-76B3C80D746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00B6A658-579E-42F7-877C-7FA5E66A58F4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46755D93-45FC-4197-8A9A-6920D521604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06A8F652-670E-4ED8-9103-1A827470CA9B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852D9418-7C46-47EF-B457-B98542ACA477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D42E8D7D-5686-4191-9B01-5DD6FDECFF46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7E1D8B0C-8C77-44E1-9652-1974D3C5FF9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D033DF96-C1A7-4DA9-9A02-715C96C805F7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96283B37-0177-426A-B141-BE2592568369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86A8F0B1-9EEE-4962-9138-11D0FBF33E77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D90F5D64-9ACF-4150-A464-4646ED8E2299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33D98BDB-9E08-4A03-B966-EDF2D2BC9B11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5C7BD217-5B5E-45E9-8C5E-14113CC2313F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8867C7BB-CA0D-4C4D-A381-9EB26327FCD8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ECB7FA9B-901C-49F1-8C0E-C95BDBAE93E9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1870F4CA-C525-4C73-95BA-B80359651278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13DD66BE-37C2-4453-9FE4-7708D01E38E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E67197D0-0FF0-496F-B067-E6931668F3B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EF0CB1DD-0AE8-4B37-BFE4-F7CCCB5F51E5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69AB0F91-DE84-47F3-8E1A-C47E8CF2B2EA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B1739F7C-15AC-4B5D-AC93-348EDE443DA5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18D0FF7E-EE48-403F-A147-69325945017C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E8E0C7CA-5ED3-4575-A608-13374A38229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40F2416B-6043-4AE9-A86A-2BD6BDF686AF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58D2E7E1-4828-440C-B2B5-0C1183EE9972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8D16C1BD-E20D-468A-9EC6-201D41729658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6D3FBD37-1C76-42B3-9CC8-EBEE9C3243E4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2FD42109-E117-492C-9044-3D437559AA2B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CFB79322-DA90-4A6D-A952-6804F52642E8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B054486D-3DF6-4BF5-BADB-583671C2EEE0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2D6E1BA3-9C89-4D30-8880-4D4179E68143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787E42E5-9358-49B1-8609-406764C9AA80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678E40A8-6141-49B3-AA35-AA9DA86B2C72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F664D52F-9008-439A-A681-A7E6EE700AFB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24913C00-E940-4BE4-89BF-70F8ABD2379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2810CA1F-0630-46D9-8152-4D3998E9233D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F63B2385-E519-441C-98F6-657907D5CAC2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9F333D57-6629-4864-A896-4F3966C03E86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917963E8-31A4-4B65-BB93-622F938D4E4E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00BCE365-7952-47E3-89F6-A8A62432C132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AA2EB5C5-2FFC-411C-8245-44C86CEE61D1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8D234673-4438-419B-BBA7-864F9F6E05D6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A33BC33F-F4D1-4B24-9352-B855D28B66EF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E70B960D-6432-4543-AF23-B6A4AC140C4D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13A4AD08-A80E-4F9E-8A11-BEC39BA8E428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A69391F1-CD1F-4450-96D7-B45067B1DB69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4F5A5634-243D-452A-8962-7CBC63E8ECF2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8685712A-DD47-44D0-8064-9A7F245FBCA0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BF201A12-F1DB-4C36-82C1-DC208827645D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09A7B75F-3CDB-4955-AF90-0DD45CDE2A94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BE04A77A-C761-45BA-9010-1F8423532758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DE3E5D77-2CB9-43E4-AC40-479A5F4946FA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38B5089A-D886-43FA-A998-6FB8EA56596E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F15A0CB9-5471-4959-96F9-55907F2DACE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5B69CE2C-DE81-47E2-A16F-96D79B596755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15D3C013-CDBF-4C52-BCF1-1F86968C20B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A3314467-49A4-4B74-9DE8-49D2CD906363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BAB1A351-B574-416E-A7DC-6A804534398A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A65D1F8D-DAD5-4F06-94F1-08A0CCE971D6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8C2A7504-515B-4A2F-BF46-62E0346A425C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A64D7B08-BCB2-49C7-95CF-1B89317C6AC0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3F926C75-2E82-4122-A9A9-3264B9F33284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C4B9B786-F567-486A-8EAD-D55E55561B01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C4637080-B864-481E-ADF2-99859C71FAE7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8834DC93-C672-488D-AC4D-F894BFC46E43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B74A06A6-2F06-4A27-96E0-0E923DAD3F6F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5F339BED-943B-4437-82A2-C2A17E0A7384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41C747C9-D56D-408B-B532-26E972509C38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FA5D46BE-F05E-43BC-BB72-3FB9C6377871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4458E59D-99B0-4E3A-9064-76DA3B76123F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F271BFB3-8E48-4FD1-9500-B85C40C32B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B167FDC3-580C-457E-8C6F-63F23DBA8A64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74DAE7D0-BC0F-4F7C-B1D1-7E79F45559BE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5FE71C93-7CD1-4E7C-BB55-36F67D2243AA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B1EB48E3-6B27-47EA-BDDC-C54B615FF1C2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4F3BF7E7-D320-45A0-86C2-43DB527703BB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EDE40870-8AA0-447A-9380-4154CC15E3D9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4" name="main body box">
              <a:extLst>
                <a:ext uri="{FF2B5EF4-FFF2-40B4-BE49-F238E27FC236}">
                  <a16:creationId xmlns:a16="http://schemas.microsoft.com/office/drawing/2014/main" id="{4D98BEC3-B1A9-491D-A391-EAF85803E6A8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F0740192-CA5C-408B-A0B6-E8C7E6E30A9C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E8FB538A-F127-4A8F-8E44-44D14AE03511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77" name="4. Footnote" hidden="1">
            <a:extLst>
              <a:ext uri="{FF2B5EF4-FFF2-40B4-BE49-F238E27FC236}">
                <a16:creationId xmlns:a16="http://schemas.microsoft.com/office/drawing/2014/main" id="{F0CAFF7B-949B-410C-9F59-E6C32BC61C24}"/>
              </a:ext>
            </a:extLst>
          </p:cNvPr>
          <p:cNvSpPr txBox="1"/>
          <p:nvPr>
            <p:custDataLst>
              <p:tags r:id="rId26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278" name="ACET" hidden="1">
            <a:extLst>
              <a:ext uri="{FF2B5EF4-FFF2-40B4-BE49-F238E27FC236}">
                <a16:creationId xmlns:a16="http://schemas.microsoft.com/office/drawing/2014/main" id="{2CCE2BF5-5FE7-4C60-B5D2-A34DF24AFFB4}"/>
              </a:ext>
            </a:extLst>
          </p:cNvPr>
          <p:cNvSpPr txBox="1"/>
          <p:nvPr>
            <p:custDataLst>
              <p:tags r:id="rId27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grpSp>
        <p:nvGrpSpPr>
          <p:cNvPr id="279" name="LegendLines" hidden="1">
            <a:extLst>
              <a:ext uri="{FF2B5EF4-FFF2-40B4-BE49-F238E27FC236}">
                <a16:creationId xmlns:a16="http://schemas.microsoft.com/office/drawing/2014/main" id="{53400331-8E72-454F-AF00-15835A0FEEDB}"/>
              </a:ext>
            </a:extLst>
          </p:cNvPr>
          <p:cNvGrpSpPr/>
          <p:nvPr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280" name="Legend1">
              <a:extLst>
                <a:ext uri="{FF2B5EF4-FFF2-40B4-BE49-F238E27FC236}">
                  <a16:creationId xmlns:a16="http://schemas.microsoft.com/office/drawing/2014/main" id="{FD6106CA-F41D-46CB-AB28-45F4716A0CBE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1" name="Legend2">
              <a:extLst>
                <a:ext uri="{FF2B5EF4-FFF2-40B4-BE49-F238E27FC236}">
                  <a16:creationId xmlns:a16="http://schemas.microsoft.com/office/drawing/2014/main" id="{2CAC450A-186A-46EC-9036-930F601C2E36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2" name="Legend3">
              <a:extLst>
                <a:ext uri="{FF2B5EF4-FFF2-40B4-BE49-F238E27FC236}">
                  <a16:creationId xmlns:a16="http://schemas.microsoft.com/office/drawing/2014/main" id="{694E8B35-45EA-4851-93AE-7272A10F4CD4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3" name="LineLegend3">
              <a:extLst>
                <a:ext uri="{FF2B5EF4-FFF2-40B4-BE49-F238E27FC236}">
                  <a16:creationId xmlns:a16="http://schemas.microsoft.com/office/drawing/2014/main" id="{B7E751FE-3FEC-4F19-8F80-D6D0A9C0BB6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4" name="LineLegend2">
              <a:extLst>
                <a:ext uri="{FF2B5EF4-FFF2-40B4-BE49-F238E27FC236}">
                  <a16:creationId xmlns:a16="http://schemas.microsoft.com/office/drawing/2014/main" id="{438250C7-125B-4C69-B2AF-C1298844C81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5" name="LineLegend1">
              <a:extLst>
                <a:ext uri="{FF2B5EF4-FFF2-40B4-BE49-F238E27FC236}">
                  <a16:creationId xmlns:a16="http://schemas.microsoft.com/office/drawing/2014/main" id="{6657262B-E51D-42B9-A359-8346496FFD0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286" name="LegendMoons" hidden="1">
            <a:extLst>
              <a:ext uri="{FF2B5EF4-FFF2-40B4-BE49-F238E27FC236}">
                <a16:creationId xmlns:a16="http://schemas.microsoft.com/office/drawing/2014/main" id="{3D70995D-83E0-4B5A-BA6F-BD3B889353E3}"/>
              </a:ext>
            </a:extLst>
          </p:cNvPr>
          <p:cNvGrpSpPr/>
          <p:nvPr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287" name="Legend1">
              <a:extLst>
                <a:ext uri="{FF2B5EF4-FFF2-40B4-BE49-F238E27FC236}">
                  <a16:creationId xmlns:a16="http://schemas.microsoft.com/office/drawing/2014/main" id="{BD76765C-30F9-4681-8E3E-8B7BCA060740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8" name="Legend2">
              <a:extLst>
                <a:ext uri="{FF2B5EF4-FFF2-40B4-BE49-F238E27FC236}">
                  <a16:creationId xmlns:a16="http://schemas.microsoft.com/office/drawing/2014/main" id="{88EA234F-40B7-4556-B71B-E6C605499BC0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9" name="Legend3">
              <a:extLst>
                <a:ext uri="{FF2B5EF4-FFF2-40B4-BE49-F238E27FC236}">
                  <a16:creationId xmlns:a16="http://schemas.microsoft.com/office/drawing/2014/main" id="{3032DE7C-9722-41A3-B0F4-3746A1A453F0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0" name="Legend4">
              <a:extLst>
                <a:ext uri="{FF2B5EF4-FFF2-40B4-BE49-F238E27FC236}">
                  <a16:creationId xmlns:a16="http://schemas.microsoft.com/office/drawing/2014/main" id="{D9B9AB79-0E96-4A9C-8D2C-EFCF6DB7D1DC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1" name="Legend5">
              <a:extLst>
                <a:ext uri="{FF2B5EF4-FFF2-40B4-BE49-F238E27FC236}">
                  <a16:creationId xmlns:a16="http://schemas.microsoft.com/office/drawing/2014/main" id="{E0C8389F-9306-4862-94C3-D512AF2EBF4C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92" name="MoonLegend1">
              <a:extLst>
                <a:ext uri="{FF2B5EF4-FFF2-40B4-BE49-F238E27FC236}">
                  <a16:creationId xmlns:a16="http://schemas.microsoft.com/office/drawing/2014/main" id="{2AACE873-EA31-4CC0-B9A5-2851E11E3B6F}"/>
                </a:ext>
              </a:extLst>
            </p:cNvPr>
            <p:cNvGrpSpPr>
              <a:grpSpLocks noChangeAspect="1"/>
            </p:cNvGrpSpPr>
            <p:nvPr>
              <p:custDataLst>
                <p:tags r:id="rId4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BD045AB8-D08F-4159-A30E-2E60343DEE44}"/>
                  </a:ext>
                </a:extLst>
              </p:cNvPr>
              <p:cNvSpPr/>
              <p:nvPr>
                <p:custDataLst>
                  <p:tags r:id="rId5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6" name="Arc 305">
                <a:extLst>
                  <a:ext uri="{FF2B5EF4-FFF2-40B4-BE49-F238E27FC236}">
                    <a16:creationId xmlns:a16="http://schemas.microsoft.com/office/drawing/2014/main" id="{6AD670EE-5C65-426E-8BDE-E073E51E85C2}"/>
                  </a:ext>
                </a:extLst>
              </p:cNvPr>
              <p:cNvSpPr/>
              <p:nvPr>
                <p:custDataLst>
                  <p:tags r:id="rId6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3" name="MoonLegend2">
              <a:extLst>
                <a:ext uri="{FF2B5EF4-FFF2-40B4-BE49-F238E27FC236}">
                  <a16:creationId xmlns:a16="http://schemas.microsoft.com/office/drawing/2014/main" id="{8649B809-C32D-4522-A0EC-64CC4B86FDE5}"/>
                </a:ext>
              </a:extLst>
            </p:cNvPr>
            <p:cNvGrpSpPr>
              <a:grpSpLocks noChangeAspect="1"/>
            </p:cNvGrpSpPr>
            <p:nvPr>
              <p:custDataLst>
                <p:tags r:id="rId4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0AAC507E-6385-4DF2-AE44-FC6B4DBEB7B8}"/>
                  </a:ext>
                </a:extLst>
              </p:cNvPr>
              <p:cNvSpPr/>
              <p:nvPr>
                <p:custDataLst>
                  <p:tags r:id="rId5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4" name="Arc 303">
                <a:extLst>
                  <a:ext uri="{FF2B5EF4-FFF2-40B4-BE49-F238E27FC236}">
                    <a16:creationId xmlns:a16="http://schemas.microsoft.com/office/drawing/2014/main" id="{D8D07D62-4A4B-40A9-AD6E-C7C8FA983D73}"/>
                  </a:ext>
                </a:extLst>
              </p:cNvPr>
              <p:cNvSpPr/>
              <p:nvPr>
                <p:custDataLst>
                  <p:tags r:id="rId5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4" name="MoonLegend3">
              <a:extLst>
                <a:ext uri="{FF2B5EF4-FFF2-40B4-BE49-F238E27FC236}">
                  <a16:creationId xmlns:a16="http://schemas.microsoft.com/office/drawing/2014/main" id="{0CDA7968-450C-4638-8E40-580F12AECF88}"/>
                </a:ext>
              </a:extLst>
            </p:cNvPr>
            <p:cNvGrpSpPr>
              <a:grpSpLocks noChangeAspect="1"/>
            </p:cNvGrpSpPr>
            <p:nvPr>
              <p:custDataLst>
                <p:tags r:id="rId4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502FB181-83B6-4988-8B45-8F841F517258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2" name="Arc 301">
                <a:extLst>
                  <a:ext uri="{FF2B5EF4-FFF2-40B4-BE49-F238E27FC236}">
                    <a16:creationId xmlns:a16="http://schemas.microsoft.com/office/drawing/2014/main" id="{D936F0C5-3F4A-4366-9877-FDD028961546}"/>
                  </a:ext>
                </a:extLst>
              </p:cNvPr>
              <p:cNvSpPr/>
              <p:nvPr>
                <p:custDataLst>
                  <p:tags r:id="rId5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5" name="MoonLegend4">
              <a:extLst>
                <a:ext uri="{FF2B5EF4-FFF2-40B4-BE49-F238E27FC236}">
                  <a16:creationId xmlns:a16="http://schemas.microsoft.com/office/drawing/2014/main" id="{F312C108-946C-47BD-A98E-C5D89E117E6A}"/>
                </a:ext>
              </a:extLst>
            </p:cNvPr>
            <p:cNvGrpSpPr>
              <a:grpSpLocks noChangeAspect="1"/>
            </p:cNvGrpSpPr>
            <p:nvPr>
              <p:custDataLst>
                <p:tags r:id="rId4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3550B2E7-39B5-4975-85AA-0A911F625C02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0" name="Arc 299">
                <a:extLst>
                  <a:ext uri="{FF2B5EF4-FFF2-40B4-BE49-F238E27FC236}">
                    <a16:creationId xmlns:a16="http://schemas.microsoft.com/office/drawing/2014/main" id="{2A356B50-CC82-4B8C-B309-901FF3EA2C30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6" name="MoonLegend5">
              <a:extLst>
                <a:ext uri="{FF2B5EF4-FFF2-40B4-BE49-F238E27FC236}">
                  <a16:creationId xmlns:a16="http://schemas.microsoft.com/office/drawing/2014/main" id="{A4B760DD-3BA1-4E30-9935-9B4F4B1AF825}"/>
                </a:ext>
              </a:extLst>
            </p:cNvPr>
            <p:cNvGrpSpPr>
              <a:grpSpLocks noChangeAspect="1"/>
            </p:cNvGrpSpPr>
            <p:nvPr>
              <p:custDataLst>
                <p:tags r:id="rId5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5F4D14F1-D2A2-4849-A543-5AEAD143E191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98" name="Arc 297">
                <a:extLst>
                  <a:ext uri="{FF2B5EF4-FFF2-40B4-BE49-F238E27FC236}">
                    <a16:creationId xmlns:a16="http://schemas.microsoft.com/office/drawing/2014/main" id="{395A78A4-E47E-4576-9B7B-7911A1915A01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307" name="LegendBoxes" hidden="1">
            <a:extLst>
              <a:ext uri="{FF2B5EF4-FFF2-40B4-BE49-F238E27FC236}">
                <a16:creationId xmlns:a16="http://schemas.microsoft.com/office/drawing/2014/main" id="{29E314D1-7BCE-46F1-918A-86D61735E185}"/>
              </a:ext>
            </a:extLst>
          </p:cNvPr>
          <p:cNvGrpSpPr/>
          <p:nvPr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308" name="RectangleLegend1">
              <a:extLst>
                <a:ext uri="{FF2B5EF4-FFF2-40B4-BE49-F238E27FC236}">
                  <a16:creationId xmlns:a16="http://schemas.microsoft.com/office/drawing/2014/main" id="{C7CBB151-4C74-4A04-822C-F206C9D881F0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09" name="RectangleLegend2">
              <a:extLst>
                <a:ext uri="{FF2B5EF4-FFF2-40B4-BE49-F238E27FC236}">
                  <a16:creationId xmlns:a16="http://schemas.microsoft.com/office/drawing/2014/main" id="{79293ABD-BA30-47B1-97C7-99FD2D2C7684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0" name="RectangleLegend3">
              <a:extLst>
                <a:ext uri="{FF2B5EF4-FFF2-40B4-BE49-F238E27FC236}">
                  <a16:creationId xmlns:a16="http://schemas.microsoft.com/office/drawing/2014/main" id="{585506ED-B3D8-4DA1-9ECB-C7B1BB569CE5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1" name="RectangleLegend4">
              <a:extLst>
                <a:ext uri="{FF2B5EF4-FFF2-40B4-BE49-F238E27FC236}">
                  <a16:creationId xmlns:a16="http://schemas.microsoft.com/office/drawing/2014/main" id="{97E391AB-1901-4DC2-8EF6-8D9C1C46DA75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2" name="RectangleLegend5">
              <a:extLst>
                <a:ext uri="{FF2B5EF4-FFF2-40B4-BE49-F238E27FC236}">
                  <a16:creationId xmlns:a16="http://schemas.microsoft.com/office/drawing/2014/main" id="{9413AAF6-065A-480F-B339-16A4E2E08C2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3" name="Legend1">
              <a:extLst>
                <a:ext uri="{FF2B5EF4-FFF2-40B4-BE49-F238E27FC236}">
                  <a16:creationId xmlns:a16="http://schemas.microsoft.com/office/drawing/2014/main" id="{68D5C9D7-C928-4A20-AAFC-CCD88F5C891B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4" name="Legend2">
              <a:extLst>
                <a:ext uri="{FF2B5EF4-FFF2-40B4-BE49-F238E27FC236}">
                  <a16:creationId xmlns:a16="http://schemas.microsoft.com/office/drawing/2014/main" id="{8BC4C7BF-64D8-471C-B817-598AD34D15F9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5" name="Legend3">
              <a:extLst>
                <a:ext uri="{FF2B5EF4-FFF2-40B4-BE49-F238E27FC236}">
                  <a16:creationId xmlns:a16="http://schemas.microsoft.com/office/drawing/2014/main" id="{54854B41-4CFD-4B2A-876A-12C789844FEB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6" name="Legend4">
              <a:extLst>
                <a:ext uri="{FF2B5EF4-FFF2-40B4-BE49-F238E27FC236}">
                  <a16:creationId xmlns:a16="http://schemas.microsoft.com/office/drawing/2014/main" id="{A0E06154-7D04-4115-90D6-6D43FB165DC7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7" name="Legend5">
              <a:extLst>
                <a:ext uri="{FF2B5EF4-FFF2-40B4-BE49-F238E27FC236}">
                  <a16:creationId xmlns:a16="http://schemas.microsoft.com/office/drawing/2014/main" id="{733B88F4-00BD-4FF5-AC3A-6E40E21E231D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318" name="Sticker" hidden="1">
            <a:extLst>
              <a:ext uri="{FF2B5EF4-FFF2-40B4-BE49-F238E27FC236}">
                <a16:creationId xmlns:a16="http://schemas.microsoft.com/office/drawing/2014/main" id="{9E8AB584-3177-421D-A961-7EE4E80C776C}"/>
              </a:ext>
            </a:extLst>
          </p:cNvPr>
          <p:cNvSpPr txBox="1"/>
          <p:nvPr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  <p:sp>
        <p:nvSpPr>
          <p:cNvPr id="320" name="Rectangle 319" hidden="1">
            <a:extLst>
              <a:ext uri="{FF2B5EF4-FFF2-40B4-BE49-F238E27FC236}">
                <a16:creationId xmlns:a16="http://schemas.microsoft.com/office/drawing/2014/main" id="{EC6D0D96-EC24-4D86-8B9E-20FED4BA1064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321" name="Grid" hidden="1">
            <a:extLst>
              <a:ext uri="{FF2B5EF4-FFF2-40B4-BE49-F238E27FC236}">
                <a16:creationId xmlns:a16="http://schemas.microsoft.com/office/drawing/2014/main" id="{6B99493B-36B1-4CDC-B50E-072EA5D9E61A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322" name="slide margin">
              <a:extLst>
                <a:ext uri="{FF2B5EF4-FFF2-40B4-BE49-F238E27FC236}">
                  <a16:creationId xmlns:a16="http://schemas.microsoft.com/office/drawing/2014/main" id="{D650F490-A557-4214-B145-FECCD791658D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23" name="Straight Connector 322">
              <a:extLst>
                <a:ext uri="{FF2B5EF4-FFF2-40B4-BE49-F238E27FC236}">
                  <a16:creationId xmlns:a16="http://schemas.microsoft.com/office/drawing/2014/main" id="{02C68758-EE74-4805-B0F3-0D459469DBBA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4" name="Straight Connector 323">
              <a:extLst>
                <a:ext uri="{FF2B5EF4-FFF2-40B4-BE49-F238E27FC236}">
                  <a16:creationId xmlns:a16="http://schemas.microsoft.com/office/drawing/2014/main" id="{6C11AFA6-F9DC-4D6E-93B1-2DA47CE2F00A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5" name="Straight Connector 324">
              <a:extLst>
                <a:ext uri="{FF2B5EF4-FFF2-40B4-BE49-F238E27FC236}">
                  <a16:creationId xmlns:a16="http://schemas.microsoft.com/office/drawing/2014/main" id="{12306809-6429-4791-94EB-A7FF4C4EE9F6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6" name="Straight Connector 325">
              <a:extLst>
                <a:ext uri="{FF2B5EF4-FFF2-40B4-BE49-F238E27FC236}">
                  <a16:creationId xmlns:a16="http://schemas.microsoft.com/office/drawing/2014/main" id="{6346F8CB-25F2-41BD-A3C1-F3A560462095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7" name="Straight Connector 326">
              <a:extLst>
                <a:ext uri="{FF2B5EF4-FFF2-40B4-BE49-F238E27FC236}">
                  <a16:creationId xmlns:a16="http://schemas.microsoft.com/office/drawing/2014/main" id="{7986ADAB-3BC8-4314-90FC-D5C3F9DEBA24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8" name="Straight Connector 327">
              <a:extLst>
                <a:ext uri="{FF2B5EF4-FFF2-40B4-BE49-F238E27FC236}">
                  <a16:creationId xmlns:a16="http://schemas.microsoft.com/office/drawing/2014/main" id="{883A818E-9A20-4C6F-B9A5-B4AC44BFC633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9" name="Straight Connector 328">
              <a:extLst>
                <a:ext uri="{FF2B5EF4-FFF2-40B4-BE49-F238E27FC236}">
                  <a16:creationId xmlns:a16="http://schemas.microsoft.com/office/drawing/2014/main" id="{E53E8917-0062-4C87-905B-4681C732E1A5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0" name="Straight Connector 329">
              <a:extLst>
                <a:ext uri="{FF2B5EF4-FFF2-40B4-BE49-F238E27FC236}">
                  <a16:creationId xmlns:a16="http://schemas.microsoft.com/office/drawing/2014/main" id="{BA210069-BCA0-42E8-881A-01E9CDE28E7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1" name="Straight Connector 330">
              <a:extLst>
                <a:ext uri="{FF2B5EF4-FFF2-40B4-BE49-F238E27FC236}">
                  <a16:creationId xmlns:a16="http://schemas.microsoft.com/office/drawing/2014/main" id="{FCDD1A39-6433-4570-80D2-9A4301E5FE97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2" name="Straight Connector 331">
              <a:extLst>
                <a:ext uri="{FF2B5EF4-FFF2-40B4-BE49-F238E27FC236}">
                  <a16:creationId xmlns:a16="http://schemas.microsoft.com/office/drawing/2014/main" id="{FE97C634-5759-49CE-9D94-73A578E8177E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3" name="Straight Connector 332">
              <a:extLst>
                <a:ext uri="{FF2B5EF4-FFF2-40B4-BE49-F238E27FC236}">
                  <a16:creationId xmlns:a16="http://schemas.microsoft.com/office/drawing/2014/main" id="{E1ABB7A7-5790-43BF-AE65-845B7C8813DA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4" name="Straight Connector 333">
              <a:extLst>
                <a:ext uri="{FF2B5EF4-FFF2-40B4-BE49-F238E27FC236}">
                  <a16:creationId xmlns:a16="http://schemas.microsoft.com/office/drawing/2014/main" id="{A6F0B1B9-2732-49D0-9374-F8D03D3CA6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5" name="Freeform: Shape 334">
              <a:extLst>
                <a:ext uri="{FF2B5EF4-FFF2-40B4-BE49-F238E27FC236}">
                  <a16:creationId xmlns:a16="http://schemas.microsoft.com/office/drawing/2014/main" id="{D8FE34AB-D557-45CF-98A0-130AA8C568EE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6" name="Freeform: Shape 335">
              <a:extLst>
                <a:ext uri="{FF2B5EF4-FFF2-40B4-BE49-F238E27FC236}">
                  <a16:creationId xmlns:a16="http://schemas.microsoft.com/office/drawing/2014/main" id="{75C4A87E-4A96-4776-9374-491214DFE2E7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7" name="Freeform: Shape 336">
              <a:extLst>
                <a:ext uri="{FF2B5EF4-FFF2-40B4-BE49-F238E27FC236}">
                  <a16:creationId xmlns:a16="http://schemas.microsoft.com/office/drawing/2014/main" id="{B4834E1B-DEC6-4B91-82A3-52AE52FC4CA2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8" name="Freeform: Shape 337">
              <a:extLst>
                <a:ext uri="{FF2B5EF4-FFF2-40B4-BE49-F238E27FC236}">
                  <a16:creationId xmlns:a16="http://schemas.microsoft.com/office/drawing/2014/main" id="{6BBC2D09-82E7-4812-90F7-83626C6D943F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39" name="Freeform: Shape 338">
              <a:extLst>
                <a:ext uri="{FF2B5EF4-FFF2-40B4-BE49-F238E27FC236}">
                  <a16:creationId xmlns:a16="http://schemas.microsoft.com/office/drawing/2014/main" id="{15DCD772-E078-4C65-8FDF-25B16795F137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4D379A4C-1421-43D0-B288-83E9B5D9A3CE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AB96C5CC-4AC7-43DE-8710-7B1A51417E9F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F7DACD01-65DD-4CB6-88D7-235E6B840E6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3" name="Freeform: Shape 342">
              <a:extLst>
                <a:ext uri="{FF2B5EF4-FFF2-40B4-BE49-F238E27FC236}">
                  <a16:creationId xmlns:a16="http://schemas.microsoft.com/office/drawing/2014/main" id="{2A008D2F-22AE-494D-918E-A6A1435D21DA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4" name="Freeform: Shape 343">
              <a:extLst>
                <a:ext uri="{FF2B5EF4-FFF2-40B4-BE49-F238E27FC236}">
                  <a16:creationId xmlns:a16="http://schemas.microsoft.com/office/drawing/2014/main" id="{FAE2EC39-3575-4B4B-ABA2-B65731CEF5EE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5" name="Freeform: Shape 344">
              <a:extLst>
                <a:ext uri="{FF2B5EF4-FFF2-40B4-BE49-F238E27FC236}">
                  <a16:creationId xmlns:a16="http://schemas.microsoft.com/office/drawing/2014/main" id="{69BF4B48-37F9-476F-AEE1-DA35058621C1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6" name="Freeform: Shape 345">
              <a:extLst>
                <a:ext uri="{FF2B5EF4-FFF2-40B4-BE49-F238E27FC236}">
                  <a16:creationId xmlns:a16="http://schemas.microsoft.com/office/drawing/2014/main" id="{BEB94BE0-7D95-4A65-A319-134B4B130E4C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7" name="Freeform: Shape 346">
              <a:extLst>
                <a:ext uri="{FF2B5EF4-FFF2-40B4-BE49-F238E27FC236}">
                  <a16:creationId xmlns:a16="http://schemas.microsoft.com/office/drawing/2014/main" id="{FF245538-A622-4DD5-9D92-63C04D0E8D6C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8" name="Freeform: Shape 347">
              <a:extLst>
                <a:ext uri="{FF2B5EF4-FFF2-40B4-BE49-F238E27FC236}">
                  <a16:creationId xmlns:a16="http://schemas.microsoft.com/office/drawing/2014/main" id="{EF8D1423-3323-4ABA-AD73-0B93149DA146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49" name="Freeform: Shape 348">
              <a:extLst>
                <a:ext uri="{FF2B5EF4-FFF2-40B4-BE49-F238E27FC236}">
                  <a16:creationId xmlns:a16="http://schemas.microsoft.com/office/drawing/2014/main" id="{980208A6-194B-47B6-A583-6716D78DA525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0" name="Freeform: Shape 349">
              <a:extLst>
                <a:ext uri="{FF2B5EF4-FFF2-40B4-BE49-F238E27FC236}">
                  <a16:creationId xmlns:a16="http://schemas.microsoft.com/office/drawing/2014/main" id="{62A1EEFB-0B36-49B8-828E-1B2E57C2FEC4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1" name="Freeform: Shape 350">
              <a:extLst>
                <a:ext uri="{FF2B5EF4-FFF2-40B4-BE49-F238E27FC236}">
                  <a16:creationId xmlns:a16="http://schemas.microsoft.com/office/drawing/2014/main" id="{72862E35-4BB5-4BE5-83FE-5A3BCBAB8A53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2" name="Freeform: Shape 351">
              <a:extLst>
                <a:ext uri="{FF2B5EF4-FFF2-40B4-BE49-F238E27FC236}">
                  <a16:creationId xmlns:a16="http://schemas.microsoft.com/office/drawing/2014/main" id="{A7063132-F2F3-4D87-B697-F22D994B70BF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3" name="Freeform: Shape 352">
              <a:extLst>
                <a:ext uri="{FF2B5EF4-FFF2-40B4-BE49-F238E27FC236}">
                  <a16:creationId xmlns:a16="http://schemas.microsoft.com/office/drawing/2014/main" id="{E05518B5-09C7-477D-8B39-515D749E4183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4" name="Freeform: Shape 353">
              <a:extLst>
                <a:ext uri="{FF2B5EF4-FFF2-40B4-BE49-F238E27FC236}">
                  <a16:creationId xmlns:a16="http://schemas.microsoft.com/office/drawing/2014/main" id="{E62C01AB-2EC6-401C-B1EC-56CF8A5DC92C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5" name="Freeform: Shape 354">
              <a:extLst>
                <a:ext uri="{FF2B5EF4-FFF2-40B4-BE49-F238E27FC236}">
                  <a16:creationId xmlns:a16="http://schemas.microsoft.com/office/drawing/2014/main" id="{1C513AC5-C296-4E9C-AEAD-964F92E84421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6" name="Freeform: Shape 355">
              <a:extLst>
                <a:ext uri="{FF2B5EF4-FFF2-40B4-BE49-F238E27FC236}">
                  <a16:creationId xmlns:a16="http://schemas.microsoft.com/office/drawing/2014/main" id="{37B4BD49-0805-4EAF-90F5-C8365A0E11F5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7" name="Freeform: Shape 356">
              <a:extLst>
                <a:ext uri="{FF2B5EF4-FFF2-40B4-BE49-F238E27FC236}">
                  <a16:creationId xmlns:a16="http://schemas.microsoft.com/office/drawing/2014/main" id="{E9212B3E-5A8F-4362-B556-11F9430ED609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8" name="Freeform: Shape 357">
              <a:extLst>
                <a:ext uri="{FF2B5EF4-FFF2-40B4-BE49-F238E27FC236}">
                  <a16:creationId xmlns:a16="http://schemas.microsoft.com/office/drawing/2014/main" id="{1E245B26-C76A-46E6-96F8-5D5B9708F038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59" name="Freeform: Shape 358">
              <a:extLst>
                <a:ext uri="{FF2B5EF4-FFF2-40B4-BE49-F238E27FC236}">
                  <a16:creationId xmlns:a16="http://schemas.microsoft.com/office/drawing/2014/main" id="{AEFC37CE-B246-4822-B5CD-1460E21897FE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360" name="Straight Connector 359">
              <a:extLst>
                <a:ext uri="{FF2B5EF4-FFF2-40B4-BE49-F238E27FC236}">
                  <a16:creationId xmlns:a16="http://schemas.microsoft.com/office/drawing/2014/main" id="{113D2100-C8C2-442F-8BC8-B42B8C0278C1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1" name="Straight Connector 360">
              <a:extLst>
                <a:ext uri="{FF2B5EF4-FFF2-40B4-BE49-F238E27FC236}">
                  <a16:creationId xmlns:a16="http://schemas.microsoft.com/office/drawing/2014/main" id="{D5D553AE-7BAA-4796-A115-66E5E4EAAD27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2" name="Straight Connector 361">
              <a:extLst>
                <a:ext uri="{FF2B5EF4-FFF2-40B4-BE49-F238E27FC236}">
                  <a16:creationId xmlns:a16="http://schemas.microsoft.com/office/drawing/2014/main" id="{4B6E6CB2-FB17-4776-AEDF-7A780DC5BB2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3" name="Straight Connector 362">
              <a:extLst>
                <a:ext uri="{FF2B5EF4-FFF2-40B4-BE49-F238E27FC236}">
                  <a16:creationId xmlns:a16="http://schemas.microsoft.com/office/drawing/2014/main" id="{930A863A-1924-4DC8-A525-FE8724F91CC4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4" name="Straight Connector 363">
              <a:extLst>
                <a:ext uri="{FF2B5EF4-FFF2-40B4-BE49-F238E27FC236}">
                  <a16:creationId xmlns:a16="http://schemas.microsoft.com/office/drawing/2014/main" id="{E4EC8930-35D4-43E3-B2DF-C56C0889319F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5" name="Straight Connector 364">
              <a:extLst>
                <a:ext uri="{FF2B5EF4-FFF2-40B4-BE49-F238E27FC236}">
                  <a16:creationId xmlns:a16="http://schemas.microsoft.com/office/drawing/2014/main" id="{07E81904-B397-4A82-9E59-BC2764F428F0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6" name="Straight Connector 365">
              <a:extLst>
                <a:ext uri="{FF2B5EF4-FFF2-40B4-BE49-F238E27FC236}">
                  <a16:creationId xmlns:a16="http://schemas.microsoft.com/office/drawing/2014/main" id="{7693A95A-DF2F-4582-B9B9-12E93998A8B3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7" name="Straight Connector 366">
              <a:extLst>
                <a:ext uri="{FF2B5EF4-FFF2-40B4-BE49-F238E27FC236}">
                  <a16:creationId xmlns:a16="http://schemas.microsoft.com/office/drawing/2014/main" id="{128FA797-1827-4F43-8E42-5660693CED0F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8" name="Straight Connector 367">
              <a:extLst>
                <a:ext uri="{FF2B5EF4-FFF2-40B4-BE49-F238E27FC236}">
                  <a16:creationId xmlns:a16="http://schemas.microsoft.com/office/drawing/2014/main" id="{E594B60B-875A-48D0-8659-B085252A4A81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9" name="Straight Connector 368">
              <a:extLst>
                <a:ext uri="{FF2B5EF4-FFF2-40B4-BE49-F238E27FC236}">
                  <a16:creationId xmlns:a16="http://schemas.microsoft.com/office/drawing/2014/main" id="{AB81F8CA-2EE9-4B23-A480-93628F09BBBF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0" name="Straight Connector 369">
              <a:extLst>
                <a:ext uri="{FF2B5EF4-FFF2-40B4-BE49-F238E27FC236}">
                  <a16:creationId xmlns:a16="http://schemas.microsoft.com/office/drawing/2014/main" id="{FDFEC15A-7829-4C39-B791-C65E8A7F2B98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1" name="Straight Connector 370">
              <a:extLst>
                <a:ext uri="{FF2B5EF4-FFF2-40B4-BE49-F238E27FC236}">
                  <a16:creationId xmlns:a16="http://schemas.microsoft.com/office/drawing/2014/main" id="{E36B3BF0-4FF2-4A94-9866-AACDA1B44692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2" name="Straight Connector 371">
              <a:extLst>
                <a:ext uri="{FF2B5EF4-FFF2-40B4-BE49-F238E27FC236}">
                  <a16:creationId xmlns:a16="http://schemas.microsoft.com/office/drawing/2014/main" id="{88320533-DA75-4DF5-99E4-08ED4B1EA6F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3" name="Straight Connector 372">
              <a:extLst>
                <a:ext uri="{FF2B5EF4-FFF2-40B4-BE49-F238E27FC236}">
                  <a16:creationId xmlns:a16="http://schemas.microsoft.com/office/drawing/2014/main" id="{AFEF4AC3-1993-439F-A565-4B36D8EAA851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4" name="Straight Connector 373">
              <a:extLst>
                <a:ext uri="{FF2B5EF4-FFF2-40B4-BE49-F238E27FC236}">
                  <a16:creationId xmlns:a16="http://schemas.microsoft.com/office/drawing/2014/main" id="{2882CC3E-2C30-497F-95F8-46C63727B9A1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5" name="Straight Connector 374">
              <a:extLst>
                <a:ext uri="{FF2B5EF4-FFF2-40B4-BE49-F238E27FC236}">
                  <a16:creationId xmlns:a16="http://schemas.microsoft.com/office/drawing/2014/main" id="{B8B648CF-B809-4631-BCF6-6DD69F1A0A0D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6" name="Straight Connector 375">
              <a:extLst>
                <a:ext uri="{FF2B5EF4-FFF2-40B4-BE49-F238E27FC236}">
                  <a16:creationId xmlns:a16="http://schemas.microsoft.com/office/drawing/2014/main" id="{C4BB814C-86D1-40D1-9B5E-7064C1C6DC3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7" name="Straight Connector 376">
              <a:extLst>
                <a:ext uri="{FF2B5EF4-FFF2-40B4-BE49-F238E27FC236}">
                  <a16:creationId xmlns:a16="http://schemas.microsoft.com/office/drawing/2014/main" id="{B14E5C30-65BE-4F3F-B28B-32BE22255A4F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8" name="Straight Connector 377">
              <a:extLst>
                <a:ext uri="{FF2B5EF4-FFF2-40B4-BE49-F238E27FC236}">
                  <a16:creationId xmlns:a16="http://schemas.microsoft.com/office/drawing/2014/main" id="{8F704E57-6AC3-4EFB-BC91-96F52B89C887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9" name="Straight Connector 378">
              <a:extLst>
                <a:ext uri="{FF2B5EF4-FFF2-40B4-BE49-F238E27FC236}">
                  <a16:creationId xmlns:a16="http://schemas.microsoft.com/office/drawing/2014/main" id="{B5FECABB-CC65-437E-A91B-D470041323C1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0" name="Straight Connector 379">
              <a:extLst>
                <a:ext uri="{FF2B5EF4-FFF2-40B4-BE49-F238E27FC236}">
                  <a16:creationId xmlns:a16="http://schemas.microsoft.com/office/drawing/2014/main" id="{08A34DC3-8853-46F9-BF1E-935998D7DA1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1" name="Straight Connector 380">
              <a:extLst>
                <a:ext uri="{FF2B5EF4-FFF2-40B4-BE49-F238E27FC236}">
                  <a16:creationId xmlns:a16="http://schemas.microsoft.com/office/drawing/2014/main" id="{977A9AFD-36F7-411F-A577-7373208EB8E1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2" name="Straight Connector 381">
              <a:extLst>
                <a:ext uri="{FF2B5EF4-FFF2-40B4-BE49-F238E27FC236}">
                  <a16:creationId xmlns:a16="http://schemas.microsoft.com/office/drawing/2014/main" id="{9AD6B024-C6C9-40B4-9A15-1EB506ACEAE5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3" name="Straight Connector 382">
              <a:extLst>
                <a:ext uri="{FF2B5EF4-FFF2-40B4-BE49-F238E27FC236}">
                  <a16:creationId xmlns:a16="http://schemas.microsoft.com/office/drawing/2014/main" id="{9D2F2D62-A841-421A-8AEA-9B63BC303009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4" name="Straight Connector 383">
              <a:extLst>
                <a:ext uri="{FF2B5EF4-FFF2-40B4-BE49-F238E27FC236}">
                  <a16:creationId xmlns:a16="http://schemas.microsoft.com/office/drawing/2014/main" id="{8E31334C-9433-4C8A-ADEC-13B1097AAB78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5" name="Straight Connector 384">
              <a:extLst>
                <a:ext uri="{FF2B5EF4-FFF2-40B4-BE49-F238E27FC236}">
                  <a16:creationId xmlns:a16="http://schemas.microsoft.com/office/drawing/2014/main" id="{5BBD5489-87D6-4AC1-B100-95E746264366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6" name="Straight Connector 385">
              <a:extLst>
                <a:ext uri="{FF2B5EF4-FFF2-40B4-BE49-F238E27FC236}">
                  <a16:creationId xmlns:a16="http://schemas.microsoft.com/office/drawing/2014/main" id="{F5DDDB0C-0C91-4F5B-AEDD-E172896A34CC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7" name="Straight Connector 386">
              <a:extLst>
                <a:ext uri="{FF2B5EF4-FFF2-40B4-BE49-F238E27FC236}">
                  <a16:creationId xmlns:a16="http://schemas.microsoft.com/office/drawing/2014/main" id="{0CAF5FDA-288C-4773-B5A1-92EC74BDF5D8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8" name="Straight Connector 387">
              <a:extLst>
                <a:ext uri="{FF2B5EF4-FFF2-40B4-BE49-F238E27FC236}">
                  <a16:creationId xmlns:a16="http://schemas.microsoft.com/office/drawing/2014/main" id="{BA218541-3223-47E7-A0CD-EA8EE56BFE09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9" name="Straight Connector 388">
              <a:extLst>
                <a:ext uri="{FF2B5EF4-FFF2-40B4-BE49-F238E27FC236}">
                  <a16:creationId xmlns:a16="http://schemas.microsoft.com/office/drawing/2014/main" id="{585582C6-1EA9-4BD2-ABB9-E559F08F90A3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0" name="Straight Connector 389">
              <a:extLst>
                <a:ext uri="{FF2B5EF4-FFF2-40B4-BE49-F238E27FC236}">
                  <a16:creationId xmlns:a16="http://schemas.microsoft.com/office/drawing/2014/main" id="{91DD5920-00F6-4450-9479-C32EF13E8F52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1" name="Straight Connector 390">
              <a:extLst>
                <a:ext uri="{FF2B5EF4-FFF2-40B4-BE49-F238E27FC236}">
                  <a16:creationId xmlns:a16="http://schemas.microsoft.com/office/drawing/2014/main" id="{8ED1A6EE-8BA1-4155-95FC-91D4B028865E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2" name="Straight Connector 391">
              <a:extLst>
                <a:ext uri="{FF2B5EF4-FFF2-40B4-BE49-F238E27FC236}">
                  <a16:creationId xmlns:a16="http://schemas.microsoft.com/office/drawing/2014/main" id="{D89943D6-5336-428F-9952-050355016700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3" name="Straight Connector 392">
              <a:extLst>
                <a:ext uri="{FF2B5EF4-FFF2-40B4-BE49-F238E27FC236}">
                  <a16:creationId xmlns:a16="http://schemas.microsoft.com/office/drawing/2014/main" id="{B6770D1A-1DBE-4F64-A5EF-BF3DAADAD1B2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4" name="Straight Connector 393">
              <a:extLst>
                <a:ext uri="{FF2B5EF4-FFF2-40B4-BE49-F238E27FC236}">
                  <a16:creationId xmlns:a16="http://schemas.microsoft.com/office/drawing/2014/main" id="{D38A900D-57A2-44CE-AFEF-A75452276F76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5" name="Straight Connector 394">
              <a:extLst>
                <a:ext uri="{FF2B5EF4-FFF2-40B4-BE49-F238E27FC236}">
                  <a16:creationId xmlns:a16="http://schemas.microsoft.com/office/drawing/2014/main" id="{3238AA43-9F8E-4E99-BCE5-A8A41A74EA59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6" name="Straight Connector 395">
              <a:extLst>
                <a:ext uri="{FF2B5EF4-FFF2-40B4-BE49-F238E27FC236}">
                  <a16:creationId xmlns:a16="http://schemas.microsoft.com/office/drawing/2014/main" id="{B1AF0B49-1F75-4C1D-988B-6AB69167755E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7" name="Straight Connector 396">
              <a:extLst>
                <a:ext uri="{FF2B5EF4-FFF2-40B4-BE49-F238E27FC236}">
                  <a16:creationId xmlns:a16="http://schemas.microsoft.com/office/drawing/2014/main" id="{E61386CA-D627-44FF-8DF1-C31862456CC6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8" name="Straight Connector 397">
              <a:extLst>
                <a:ext uri="{FF2B5EF4-FFF2-40B4-BE49-F238E27FC236}">
                  <a16:creationId xmlns:a16="http://schemas.microsoft.com/office/drawing/2014/main" id="{5943381E-FC5D-4238-857B-713D698EA5B5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9" name="Straight Connector 398">
              <a:extLst>
                <a:ext uri="{FF2B5EF4-FFF2-40B4-BE49-F238E27FC236}">
                  <a16:creationId xmlns:a16="http://schemas.microsoft.com/office/drawing/2014/main" id="{BC5D6D4C-1E6C-41E5-9E99-2761ED9E957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0" name="Straight Connector 399">
              <a:extLst>
                <a:ext uri="{FF2B5EF4-FFF2-40B4-BE49-F238E27FC236}">
                  <a16:creationId xmlns:a16="http://schemas.microsoft.com/office/drawing/2014/main" id="{3F61C040-9C18-41E4-9425-3E3B7B690FC8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1" name="Straight Connector 400">
              <a:extLst>
                <a:ext uri="{FF2B5EF4-FFF2-40B4-BE49-F238E27FC236}">
                  <a16:creationId xmlns:a16="http://schemas.microsoft.com/office/drawing/2014/main" id="{CB96E9F6-BB76-4076-B519-CE8A313138ED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2" name="Straight Connector 401">
              <a:extLst>
                <a:ext uri="{FF2B5EF4-FFF2-40B4-BE49-F238E27FC236}">
                  <a16:creationId xmlns:a16="http://schemas.microsoft.com/office/drawing/2014/main" id="{B68D75A0-0BC4-4DF7-9D2D-5EA67E520AB2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3" name="Straight Connector 402">
              <a:extLst>
                <a:ext uri="{FF2B5EF4-FFF2-40B4-BE49-F238E27FC236}">
                  <a16:creationId xmlns:a16="http://schemas.microsoft.com/office/drawing/2014/main" id="{8B03AB62-122B-40B4-BEF6-C053B013BC4E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04" name="main body box">
              <a:extLst>
                <a:ext uri="{FF2B5EF4-FFF2-40B4-BE49-F238E27FC236}">
                  <a16:creationId xmlns:a16="http://schemas.microsoft.com/office/drawing/2014/main" id="{16EC64D7-8CE5-4D3B-B4FC-D88C3BFC1AF8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405" name="Straight Connector 404">
              <a:extLst>
                <a:ext uri="{FF2B5EF4-FFF2-40B4-BE49-F238E27FC236}">
                  <a16:creationId xmlns:a16="http://schemas.microsoft.com/office/drawing/2014/main" id="{9574D644-F8BE-467D-A98E-D834828FC4C0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406" name="Straight Connector 405">
              <a:extLst>
                <a:ext uri="{FF2B5EF4-FFF2-40B4-BE49-F238E27FC236}">
                  <a16:creationId xmlns:a16="http://schemas.microsoft.com/office/drawing/2014/main" id="{C141A2B1-AB40-440B-8001-8DF5D4CF95E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07" name="4. Footnote" hidden="1">
            <a:extLst>
              <a:ext uri="{FF2B5EF4-FFF2-40B4-BE49-F238E27FC236}">
                <a16:creationId xmlns:a16="http://schemas.microsoft.com/office/drawing/2014/main" id="{2657C792-AF87-4847-B85A-51FDE87E4036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408" name="ACET" hidden="1">
            <a:extLst>
              <a:ext uri="{FF2B5EF4-FFF2-40B4-BE49-F238E27FC236}">
                <a16:creationId xmlns:a16="http://schemas.microsoft.com/office/drawing/2014/main" id="{B19DA77F-275D-4890-9636-A068ACA52821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grpSp>
        <p:nvGrpSpPr>
          <p:cNvPr id="409" name="LegendLines" hidden="1">
            <a:extLst>
              <a:ext uri="{FF2B5EF4-FFF2-40B4-BE49-F238E27FC236}">
                <a16:creationId xmlns:a16="http://schemas.microsoft.com/office/drawing/2014/main" id="{E27DE6EE-59D9-4825-96D3-FD9E2BCC4CFA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410" name="Legend1">
              <a:extLst>
                <a:ext uri="{FF2B5EF4-FFF2-40B4-BE49-F238E27FC236}">
                  <a16:creationId xmlns:a16="http://schemas.microsoft.com/office/drawing/2014/main" id="{4808BBCC-B045-4E98-BC3B-0F960B9EAD96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1" name="Legend2">
              <a:extLst>
                <a:ext uri="{FF2B5EF4-FFF2-40B4-BE49-F238E27FC236}">
                  <a16:creationId xmlns:a16="http://schemas.microsoft.com/office/drawing/2014/main" id="{2B1F5280-32F6-401B-838F-30F68618CA4E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2" name="Legend3">
              <a:extLst>
                <a:ext uri="{FF2B5EF4-FFF2-40B4-BE49-F238E27FC236}">
                  <a16:creationId xmlns:a16="http://schemas.microsoft.com/office/drawing/2014/main" id="{6BC9228E-FC37-404A-8AD6-2EC1157D8EFC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3" name="LineLegend3">
              <a:extLst>
                <a:ext uri="{FF2B5EF4-FFF2-40B4-BE49-F238E27FC236}">
                  <a16:creationId xmlns:a16="http://schemas.microsoft.com/office/drawing/2014/main" id="{5ED8295C-4E75-4F63-BB8F-9263F686B67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414" name="LineLegend2">
              <a:extLst>
                <a:ext uri="{FF2B5EF4-FFF2-40B4-BE49-F238E27FC236}">
                  <a16:creationId xmlns:a16="http://schemas.microsoft.com/office/drawing/2014/main" id="{1FD368B4-C73F-4824-B21D-168EBC36BA2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415" name="LineLegend1">
              <a:extLst>
                <a:ext uri="{FF2B5EF4-FFF2-40B4-BE49-F238E27FC236}">
                  <a16:creationId xmlns:a16="http://schemas.microsoft.com/office/drawing/2014/main" id="{E09AE972-0739-419F-8729-6FD8EFDD0559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416" name="LegendMoons" hidden="1">
            <a:extLst>
              <a:ext uri="{FF2B5EF4-FFF2-40B4-BE49-F238E27FC236}">
                <a16:creationId xmlns:a16="http://schemas.microsoft.com/office/drawing/2014/main" id="{C1EF2A9A-B994-439B-8AEF-71566B527B9D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417" name="Legend1">
              <a:extLst>
                <a:ext uri="{FF2B5EF4-FFF2-40B4-BE49-F238E27FC236}">
                  <a16:creationId xmlns:a16="http://schemas.microsoft.com/office/drawing/2014/main" id="{779DA6C8-51A9-40B5-8AEE-39CCEECBF594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8" name="Legend2">
              <a:extLst>
                <a:ext uri="{FF2B5EF4-FFF2-40B4-BE49-F238E27FC236}">
                  <a16:creationId xmlns:a16="http://schemas.microsoft.com/office/drawing/2014/main" id="{A40898F3-5062-4500-9247-6DA521B6BE12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19" name="Legend3">
              <a:extLst>
                <a:ext uri="{FF2B5EF4-FFF2-40B4-BE49-F238E27FC236}">
                  <a16:creationId xmlns:a16="http://schemas.microsoft.com/office/drawing/2014/main" id="{BB023D60-7B16-4A02-A740-F98BA315A93B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20" name="Legend4">
              <a:extLst>
                <a:ext uri="{FF2B5EF4-FFF2-40B4-BE49-F238E27FC236}">
                  <a16:creationId xmlns:a16="http://schemas.microsoft.com/office/drawing/2014/main" id="{7468974C-B046-4EF6-81F5-3C3D377D5D90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21" name="Legend5">
              <a:extLst>
                <a:ext uri="{FF2B5EF4-FFF2-40B4-BE49-F238E27FC236}">
                  <a16:creationId xmlns:a16="http://schemas.microsoft.com/office/drawing/2014/main" id="{573EC240-56E5-4B43-BD8D-2A30C5932BA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422" name="MoonLegend1">
              <a:extLst>
                <a:ext uri="{FF2B5EF4-FFF2-40B4-BE49-F238E27FC236}">
                  <a16:creationId xmlns:a16="http://schemas.microsoft.com/office/drawing/2014/main" id="{C8C98693-5597-47FB-AE66-F21A880B09D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435" name="Oval 434">
                <a:extLst>
                  <a:ext uri="{FF2B5EF4-FFF2-40B4-BE49-F238E27FC236}">
                    <a16:creationId xmlns:a16="http://schemas.microsoft.com/office/drawing/2014/main" id="{BEE915F2-116B-4985-9478-1CB47C1FD15C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6" name="Arc 435">
                <a:extLst>
                  <a:ext uri="{FF2B5EF4-FFF2-40B4-BE49-F238E27FC236}">
                    <a16:creationId xmlns:a16="http://schemas.microsoft.com/office/drawing/2014/main" id="{677682A5-19E4-4516-85E3-BC09B9D0F685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3" name="MoonLegend2">
              <a:extLst>
                <a:ext uri="{FF2B5EF4-FFF2-40B4-BE49-F238E27FC236}">
                  <a16:creationId xmlns:a16="http://schemas.microsoft.com/office/drawing/2014/main" id="{5392A699-38AA-49D5-B165-960620CB4C8F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433" name="Oval 432">
                <a:extLst>
                  <a:ext uri="{FF2B5EF4-FFF2-40B4-BE49-F238E27FC236}">
                    <a16:creationId xmlns:a16="http://schemas.microsoft.com/office/drawing/2014/main" id="{BC08B711-84F8-4CCF-84AB-F2AA2298B55C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4" name="Arc 433">
                <a:extLst>
                  <a:ext uri="{FF2B5EF4-FFF2-40B4-BE49-F238E27FC236}">
                    <a16:creationId xmlns:a16="http://schemas.microsoft.com/office/drawing/2014/main" id="{CDAFF079-78F8-41F3-8BAE-333E4F679129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4" name="MoonLegend3">
              <a:extLst>
                <a:ext uri="{FF2B5EF4-FFF2-40B4-BE49-F238E27FC236}">
                  <a16:creationId xmlns:a16="http://schemas.microsoft.com/office/drawing/2014/main" id="{3153E236-11D8-4925-8CC0-04B24A52DF1E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431" name="Oval 430">
                <a:extLst>
                  <a:ext uri="{FF2B5EF4-FFF2-40B4-BE49-F238E27FC236}">
                    <a16:creationId xmlns:a16="http://schemas.microsoft.com/office/drawing/2014/main" id="{5595C347-7A7D-46EE-AD72-E4D3602A9FCF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2" name="Arc 431">
                <a:extLst>
                  <a:ext uri="{FF2B5EF4-FFF2-40B4-BE49-F238E27FC236}">
                    <a16:creationId xmlns:a16="http://schemas.microsoft.com/office/drawing/2014/main" id="{04BF628A-E748-4FF7-BC07-F971A3789A6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5" name="MoonLegend4">
              <a:extLst>
                <a:ext uri="{FF2B5EF4-FFF2-40B4-BE49-F238E27FC236}">
                  <a16:creationId xmlns:a16="http://schemas.microsoft.com/office/drawing/2014/main" id="{91932F4F-C483-4048-A01D-D81E9B6D38D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429" name="Oval 428">
                <a:extLst>
                  <a:ext uri="{FF2B5EF4-FFF2-40B4-BE49-F238E27FC236}">
                    <a16:creationId xmlns:a16="http://schemas.microsoft.com/office/drawing/2014/main" id="{7DB90165-1E9D-41BE-A4D0-2F0D1CCBEDDA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30" name="Arc 429">
                <a:extLst>
                  <a:ext uri="{FF2B5EF4-FFF2-40B4-BE49-F238E27FC236}">
                    <a16:creationId xmlns:a16="http://schemas.microsoft.com/office/drawing/2014/main" id="{282C3B3C-1B3B-4F03-A204-BBC1CB7318E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426" name="MoonLegend5">
              <a:extLst>
                <a:ext uri="{FF2B5EF4-FFF2-40B4-BE49-F238E27FC236}">
                  <a16:creationId xmlns:a16="http://schemas.microsoft.com/office/drawing/2014/main" id="{1C0F71F0-1A08-4397-B78D-9CC123BFD34F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427" name="Oval 426">
                <a:extLst>
                  <a:ext uri="{FF2B5EF4-FFF2-40B4-BE49-F238E27FC236}">
                    <a16:creationId xmlns:a16="http://schemas.microsoft.com/office/drawing/2014/main" id="{4876E9F0-F5C1-45FB-8F30-64249D201381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428" name="Arc 427">
                <a:extLst>
                  <a:ext uri="{FF2B5EF4-FFF2-40B4-BE49-F238E27FC236}">
                    <a16:creationId xmlns:a16="http://schemas.microsoft.com/office/drawing/2014/main" id="{0DEB11D4-9FAC-4211-9DA1-54334797623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437" name="LegendBoxes" hidden="1">
            <a:extLst>
              <a:ext uri="{FF2B5EF4-FFF2-40B4-BE49-F238E27FC236}">
                <a16:creationId xmlns:a16="http://schemas.microsoft.com/office/drawing/2014/main" id="{4E775138-AD69-43E4-AEDA-713B0C5004D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438" name="RectangleLegend1">
              <a:extLst>
                <a:ext uri="{FF2B5EF4-FFF2-40B4-BE49-F238E27FC236}">
                  <a16:creationId xmlns:a16="http://schemas.microsoft.com/office/drawing/2014/main" id="{EFBBCC5B-3BF8-4A5C-8CF1-C50879F8D57E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39" name="RectangleLegend2">
              <a:extLst>
                <a:ext uri="{FF2B5EF4-FFF2-40B4-BE49-F238E27FC236}">
                  <a16:creationId xmlns:a16="http://schemas.microsoft.com/office/drawing/2014/main" id="{C54AA64F-12B1-4D40-8F45-616700C35308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0" name="RectangleLegend3">
              <a:extLst>
                <a:ext uri="{FF2B5EF4-FFF2-40B4-BE49-F238E27FC236}">
                  <a16:creationId xmlns:a16="http://schemas.microsoft.com/office/drawing/2014/main" id="{30990F92-891C-47EA-A628-62AFE928946A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1" name="RectangleLegend4">
              <a:extLst>
                <a:ext uri="{FF2B5EF4-FFF2-40B4-BE49-F238E27FC236}">
                  <a16:creationId xmlns:a16="http://schemas.microsoft.com/office/drawing/2014/main" id="{B91C8A22-2FF0-443C-A965-0A82FAF2912A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2" name="RectangleLegend5">
              <a:extLst>
                <a:ext uri="{FF2B5EF4-FFF2-40B4-BE49-F238E27FC236}">
                  <a16:creationId xmlns:a16="http://schemas.microsoft.com/office/drawing/2014/main" id="{0832CF44-CA22-4415-9B8E-A327D7F1168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443" name="Legend1">
              <a:extLst>
                <a:ext uri="{FF2B5EF4-FFF2-40B4-BE49-F238E27FC236}">
                  <a16:creationId xmlns:a16="http://schemas.microsoft.com/office/drawing/2014/main" id="{0F4F7939-1BD5-4110-877E-69AFFF406A67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4" name="Legend2">
              <a:extLst>
                <a:ext uri="{FF2B5EF4-FFF2-40B4-BE49-F238E27FC236}">
                  <a16:creationId xmlns:a16="http://schemas.microsoft.com/office/drawing/2014/main" id="{BEE2E6B7-512E-4402-9D8F-2195E3919C1E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5" name="Legend3">
              <a:extLst>
                <a:ext uri="{FF2B5EF4-FFF2-40B4-BE49-F238E27FC236}">
                  <a16:creationId xmlns:a16="http://schemas.microsoft.com/office/drawing/2014/main" id="{80820348-DAA4-4480-BCC1-0EDF816FED37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6" name="Legend4">
              <a:extLst>
                <a:ext uri="{FF2B5EF4-FFF2-40B4-BE49-F238E27FC236}">
                  <a16:creationId xmlns:a16="http://schemas.microsoft.com/office/drawing/2014/main" id="{C28E87DE-E3F5-4588-BBD0-43F26957E306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447" name="Legend5">
              <a:extLst>
                <a:ext uri="{FF2B5EF4-FFF2-40B4-BE49-F238E27FC236}">
                  <a16:creationId xmlns:a16="http://schemas.microsoft.com/office/drawing/2014/main" id="{0A195359-0B29-471C-8196-79E4A1AED425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448" name="Sticker" hidden="1">
            <a:extLst>
              <a:ext uri="{FF2B5EF4-FFF2-40B4-BE49-F238E27FC236}">
                <a16:creationId xmlns:a16="http://schemas.microsoft.com/office/drawing/2014/main" id="{B2299066-C49F-45F1-A546-0F1C8909C262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451117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8448027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1008781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0" r:id="rId1"/>
    <p:sldLayoutId id="2147483961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3973" r:id="rId14"/>
    <p:sldLayoutId id="2147483974" r:id="rId15"/>
    <p:sldLayoutId id="2147483975" r:id="rId16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51029719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6" imgW="413" imgH="416" progId="TCLayout.ActiveDocument.1">
                  <p:embed/>
                </p:oleObj>
              </mc:Choice>
              <mc:Fallback>
                <p:oleObj name="think-cell Slide" r:id="rId5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>
            <p:custDataLst>
              <p:tags r:id="rId20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>
            <p:custDataLst>
              <p:tags r:id="rId22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5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5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4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5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5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4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4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4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ACA660-1C07-6E72-EB48-2993A364160B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52060"/>
            <a:ext cx="602456" cy="92333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 rtl="0"/>
            <a:r>
              <a:rPr lang="en-GB" sz="6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  <p:sp>
        <p:nvSpPr>
          <p:cNvPr id="149" name="Rectangle 148" hidden="1">
            <a:extLst>
              <a:ext uri="{FF2B5EF4-FFF2-40B4-BE49-F238E27FC236}">
                <a16:creationId xmlns:a16="http://schemas.microsoft.com/office/drawing/2014/main" id="{D620744B-8687-452D-A66E-EB03F33294FE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50" name="Grid" hidden="1">
            <a:extLst>
              <a:ext uri="{FF2B5EF4-FFF2-40B4-BE49-F238E27FC236}">
                <a16:creationId xmlns:a16="http://schemas.microsoft.com/office/drawing/2014/main" id="{9137CBDF-B7F1-4884-AEF3-7EA87A1C756F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151" name="slide margin">
              <a:extLst>
                <a:ext uri="{FF2B5EF4-FFF2-40B4-BE49-F238E27FC236}">
                  <a16:creationId xmlns:a16="http://schemas.microsoft.com/office/drawing/2014/main" id="{E01D2A75-7FD8-4657-930F-46653CAECA23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3AED828B-F57B-4E86-B237-5F22C6CD4DBC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4" name="Straight Connector 153">
              <a:extLst>
                <a:ext uri="{FF2B5EF4-FFF2-40B4-BE49-F238E27FC236}">
                  <a16:creationId xmlns:a16="http://schemas.microsoft.com/office/drawing/2014/main" id="{019BB1A2-77A2-423E-B965-F58CA1DFF9E0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5" name="Straight Connector 154">
              <a:extLst>
                <a:ext uri="{FF2B5EF4-FFF2-40B4-BE49-F238E27FC236}">
                  <a16:creationId xmlns:a16="http://schemas.microsoft.com/office/drawing/2014/main" id="{890F4F62-4E88-417B-AD2A-0C733B8B936A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Straight Connector 155">
              <a:extLst>
                <a:ext uri="{FF2B5EF4-FFF2-40B4-BE49-F238E27FC236}">
                  <a16:creationId xmlns:a16="http://schemas.microsoft.com/office/drawing/2014/main" id="{F2E1AC64-3CBE-42B8-92B3-3183B9727120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7" name="Straight Connector 156">
              <a:extLst>
                <a:ext uri="{FF2B5EF4-FFF2-40B4-BE49-F238E27FC236}">
                  <a16:creationId xmlns:a16="http://schemas.microsoft.com/office/drawing/2014/main" id="{FA7A9B81-B69E-448B-9F2D-807ECA99248B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8" name="Straight Connector 157">
              <a:extLst>
                <a:ext uri="{FF2B5EF4-FFF2-40B4-BE49-F238E27FC236}">
                  <a16:creationId xmlns:a16="http://schemas.microsoft.com/office/drawing/2014/main" id="{52B697C9-2A44-4395-AB95-314F7FCA95C4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Straight Connector 158">
              <a:extLst>
                <a:ext uri="{FF2B5EF4-FFF2-40B4-BE49-F238E27FC236}">
                  <a16:creationId xmlns:a16="http://schemas.microsoft.com/office/drawing/2014/main" id="{FDC66C65-00AA-42AF-A319-9B56ADCDF981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0" name="Straight Connector 159">
              <a:extLst>
                <a:ext uri="{FF2B5EF4-FFF2-40B4-BE49-F238E27FC236}">
                  <a16:creationId xmlns:a16="http://schemas.microsoft.com/office/drawing/2014/main" id="{4290D558-AA35-4E4B-A475-92A6DE2A60E9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Straight Connector 160">
              <a:extLst>
                <a:ext uri="{FF2B5EF4-FFF2-40B4-BE49-F238E27FC236}">
                  <a16:creationId xmlns:a16="http://schemas.microsoft.com/office/drawing/2014/main" id="{C1235728-1033-446F-86B5-20F95AA1531E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2" name="Straight Connector 161">
              <a:extLst>
                <a:ext uri="{FF2B5EF4-FFF2-40B4-BE49-F238E27FC236}">
                  <a16:creationId xmlns:a16="http://schemas.microsoft.com/office/drawing/2014/main" id="{84438DBC-E37E-4A46-8EED-693BCA55E265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Straight Connector 162">
              <a:extLst>
                <a:ext uri="{FF2B5EF4-FFF2-40B4-BE49-F238E27FC236}">
                  <a16:creationId xmlns:a16="http://schemas.microsoft.com/office/drawing/2014/main" id="{BF29294C-BFC5-46A3-A005-5AD3FC8E9E75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4" name="Straight Connector 163">
              <a:extLst>
                <a:ext uri="{FF2B5EF4-FFF2-40B4-BE49-F238E27FC236}">
                  <a16:creationId xmlns:a16="http://schemas.microsoft.com/office/drawing/2014/main" id="{CC766A30-2021-491E-A485-3E2FC6530293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Freeform: Shape 164">
              <a:extLst>
                <a:ext uri="{FF2B5EF4-FFF2-40B4-BE49-F238E27FC236}">
                  <a16:creationId xmlns:a16="http://schemas.microsoft.com/office/drawing/2014/main" id="{418783EB-470A-4629-B3CF-F99460C615C3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6" name="Freeform: Shape 165">
              <a:extLst>
                <a:ext uri="{FF2B5EF4-FFF2-40B4-BE49-F238E27FC236}">
                  <a16:creationId xmlns:a16="http://schemas.microsoft.com/office/drawing/2014/main" id="{1FA8A25D-5459-4EE4-A120-54C16D1AF4DE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7" name="Freeform: Shape 166">
              <a:extLst>
                <a:ext uri="{FF2B5EF4-FFF2-40B4-BE49-F238E27FC236}">
                  <a16:creationId xmlns:a16="http://schemas.microsoft.com/office/drawing/2014/main" id="{5B660709-FF34-476E-B3EA-41A7E76DED52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68" name="Freeform: Shape 167">
              <a:extLst>
                <a:ext uri="{FF2B5EF4-FFF2-40B4-BE49-F238E27FC236}">
                  <a16:creationId xmlns:a16="http://schemas.microsoft.com/office/drawing/2014/main" id="{72D8EE58-30AD-4EE7-ABD7-6E41C35E0112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79" name="Freeform: Shape 178">
              <a:extLst>
                <a:ext uri="{FF2B5EF4-FFF2-40B4-BE49-F238E27FC236}">
                  <a16:creationId xmlns:a16="http://schemas.microsoft.com/office/drawing/2014/main" id="{6EEE7F94-D608-413C-8FC3-88FE3DC69EBE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0" name="Freeform: Shape 179">
              <a:extLst>
                <a:ext uri="{FF2B5EF4-FFF2-40B4-BE49-F238E27FC236}">
                  <a16:creationId xmlns:a16="http://schemas.microsoft.com/office/drawing/2014/main" id="{C61C7326-2BA2-4B0B-B64B-A906570AB0A2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1" name="Freeform: Shape 180">
              <a:extLst>
                <a:ext uri="{FF2B5EF4-FFF2-40B4-BE49-F238E27FC236}">
                  <a16:creationId xmlns:a16="http://schemas.microsoft.com/office/drawing/2014/main" id="{A7B24ADB-293C-4293-B5EE-D7158FB529B1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2" name="Freeform: Shape 181">
              <a:extLst>
                <a:ext uri="{FF2B5EF4-FFF2-40B4-BE49-F238E27FC236}">
                  <a16:creationId xmlns:a16="http://schemas.microsoft.com/office/drawing/2014/main" id="{DB697FE0-EE9E-4F19-8D3F-265CEA97CC15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3" name="Freeform: Shape 182">
              <a:extLst>
                <a:ext uri="{FF2B5EF4-FFF2-40B4-BE49-F238E27FC236}">
                  <a16:creationId xmlns:a16="http://schemas.microsoft.com/office/drawing/2014/main" id="{00A3CA43-B013-4D72-90C1-C4BAA9933312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4" name="Freeform: Shape 183">
              <a:extLst>
                <a:ext uri="{FF2B5EF4-FFF2-40B4-BE49-F238E27FC236}">
                  <a16:creationId xmlns:a16="http://schemas.microsoft.com/office/drawing/2014/main" id="{8646376A-3632-490D-B348-54F31A6C1307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5" name="Freeform: Shape 184">
              <a:extLst>
                <a:ext uri="{FF2B5EF4-FFF2-40B4-BE49-F238E27FC236}">
                  <a16:creationId xmlns:a16="http://schemas.microsoft.com/office/drawing/2014/main" id="{C87A4562-7E4C-4C97-959A-4467109ADE7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7" name="Freeform: Shape 186">
              <a:extLst>
                <a:ext uri="{FF2B5EF4-FFF2-40B4-BE49-F238E27FC236}">
                  <a16:creationId xmlns:a16="http://schemas.microsoft.com/office/drawing/2014/main" id="{688AF2E5-5012-4770-BF0E-2BE5E326A56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8" name="Freeform: Shape 187">
              <a:extLst>
                <a:ext uri="{FF2B5EF4-FFF2-40B4-BE49-F238E27FC236}">
                  <a16:creationId xmlns:a16="http://schemas.microsoft.com/office/drawing/2014/main" id="{72666ADC-D73B-4AF3-920F-7565FDBAF2B0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89" name="Freeform: Shape 188">
              <a:extLst>
                <a:ext uri="{FF2B5EF4-FFF2-40B4-BE49-F238E27FC236}">
                  <a16:creationId xmlns:a16="http://schemas.microsoft.com/office/drawing/2014/main" id="{D40AD153-58D8-499F-A421-CC2805198BC5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0" name="Freeform: Shape 189">
              <a:extLst>
                <a:ext uri="{FF2B5EF4-FFF2-40B4-BE49-F238E27FC236}">
                  <a16:creationId xmlns:a16="http://schemas.microsoft.com/office/drawing/2014/main" id="{2D6F1D84-B406-4655-B85A-570855197816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1" name="Freeform: Shape 190">
              <a:extLst>
                <a:ext uri="{FF2B5EF4-FFF2-40B4-BE49-F238E27FC236}">
                  <a16:creationId xmlns:a16="http://schemas.microsoft.com/office/drawing/2014/main" id="{366636D1-8BF9-4DD7-90B2-D35D9D82920F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2" name="Freeform: Shape 191">
              <a:extLst>
                <a:ext uri="{FF2B5EF4-FFF2-40B4-BE49-F238E27FC236}">
                  <a16:creationId xmlns:a16="http://schemas.microsoft.com/office/drawing/2014/main" id="{C7306E36-02F9-4B7F-9A2D-C005FD6B1CCA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3" name="Freeform: Shape 192">
              <a:extLst>
                <a:ext uri="{FF2B5EF4-FFF2-40B4-BE49-F238E27FC236}">
                  <a16:creationId xmlns:a16="http://schemas.microsoft.com/office/drawing/2014/main" id="{3CA61B72-FAB7-44CA-84D5-377451FC9244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4" name="Freeform: Shape 193">
              <a:extLst>
                <a:ext uri="{FF2B5EF4-FFF2-40B4-BE49-F238E27FC236}">
                  <a16:creationId xmlns:a16="http://schemas.microsoft.com/office/drawing/2014/main" id="{A8EA6C5C-E926-42AE-992B-7971FF297891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5" name="Freeform: Shape 194">
              <a:extLst>
                <a:ext uri="{FF2B5EF4-FFF2-40B4-BE49-F238E27FC236}">
                  <a16:creationId xmlns:a16="http://schemas.microsoft.com/office/drawing/2014/main" id="{7F694755-373C-4EDB-BFDA-51441270C28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6" name="Freeform: Shape 195">
              <a:extLst>
                <a:ext uri="{FF2B5EF4-FFF2-40B4-BE49-F238E27FC236}">
                  <a16:creationId xmlns:a16="http://schemas.microsoft.com/office/drawing/2014/main" id="{12301F24-6E8A-4CA1-B717-DB0727DCCEBA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197" name="Freeform: Shape 196">
              <a:extLst>
                <a:ext uri="{FF2B5EF4-FFF2-40B4-BE49-F238E27FC236}">
                  <a16:creationId xmlns:a16="http://schemas.microsoft.com/office/drawing/2014/main" id="{C61660A3-AE77-4292-B4A4-4AC428D64D76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3957EDB9-ED71-4961-8C13-24AA1519D99E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1D363BD3-D794-42BC-80B0-9E950B26EE0E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F418837F-34D0-4230-88F8-797F9F93D767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8DBD9562-C999-4E5D-BE32-7571F1F75D40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72DEA456-6D92-4BB4-9251-C3061218B17A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CD901E7B-4DA1-490F-90DA-763ECE1D03B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F8C93DE3-1B8F-4E8F-8CBA-A61D967A8638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454B66E1-9A52-4D02-B0B7-BA06CA432FAD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97CF9889-5A93-4999-A274-097091D5CBDE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20DE0291-86BA-40AA-BB58-2C0386D8E4EE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D43F2262-9FFD-4C10-9519-182D4BEE01DC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55B63850-94AE-4981-9CFE-F3BF285A217B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>
              <a:extLst>
                <a:ext uri="{FF2B5EF4-FFF2-40B4-BE49-F238E27FC236}">
                  <a16:creationId xmlns:a16="http://schemas.microsoft.com/office/drawing/2014/main" id="{F142688D-B176-46EF-A1B1-1876F39B1A4F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>
              <a:extLst>
                <a:ext uri="{FF2B5EF4-FFF2-40B4-BE49-F238E27FC236}">
                  <a16:creationId xmlns:a16="http://schemas.microsoft.com/office/drawing/2014/main" id="{609C0505-D337-4966-A7DC-30AD000E3C8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>
              <a:extLst>
                <a:ext uri="{FF2B5EF4-FFF2-40B4-BE49-F238E27FC236}">
                  <a16:creationId xmlns:a16="http://schemas.microsoft.com/office/drawing/2014/main" id="{61545474-9110-41CC-8F20-4010E1FD2B46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>
              <a:extLst>
                <a:ext uri="{FF2B5EF4-FFF2-40B4-BE49-F238E27FC236}">
                  <a16:creationId xmlns:a16="http://schemas.microsoft.com/office/drawing/2014/main" id="{480B711E-3522-490F-929F-5599A11D2A68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>
              <a:extLst>
                <a:ext uri="{FF2B5EF4-FFF2-40B4-BE49-F238E27FC236}">
                  <a16:creationId xmlns:a16="http://schemas.microsoft.com/office/drawing/2014/main" id="{1FFCC32E-295F-4536-A195-AA7413FA8591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>
              <a:extLst>
                <a:ext uri="{FF2B5EF4-FFF2-40B4-BE49-F238E27FC236}">
                  <a16:creationId xmlns:a16="http://schemas.microsoft.com/office/drawing/2014/main" id="{0AB291EE-804A-4224-B5E2-90D51559F261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>
              <a:extLst>
                <a:ext uri="{FF2B5EF4-FFF2-40B4-BE49-F238E27FC236}">
                  <a16:creationId xmlns:a16="http://schemas.microsoft.com/office/drawing/2014/main" id="{718683E7-DA0C-43BA-A674-8E98EBDF9079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>
              <a:extLst>
                <a:ext uri="{FF2B5EF4-FFF2-40B4-BE49-F238E27FC236}">
                  <a16:creationId xmlns:a16="http://schemas.microsoft.com/office/drawing/2014/main" id="{75AAC718-F437-4B6A-8D09-06E771FC5F67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>
              <a:extLst>
                <a:ext uri="{FF2B5EF4-FFF2-40B4-BE49-F238E27FC236}">
                  <a16:creationId xmlns:a16="http://schemas.microsoft.com/office/drawing/2014/main" id="{F0708984-346B-4914-835A-55E46DE69B74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>
              <a:extLst>
                <a:ext uri="{FF2B5EF4-FFF2-40B4-BE49-F238E27FC236}">
                  <a16:creationId xmlns:a16="http://schemas.microsoft.com/office/drawing/2014/main" id="{CDA4D155-6A0A-4F09-91D8-88AF3DB0B2B9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>
              <a:extLst>
                <a:ext uri="{FF2B5EF4-FFF2-40B4-BE49-F238E27FC236}">
                  <a16:creationId xmlns:a16="http://schemas.microsoft.com/office/drawing/2014/main" id="{011F1BE0-51E3-43FD-B07D-F19C63703AA8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>
              <a:extLst>
                <a:ext uri="{FF2B5EF4-FFF2-40B4-BE49-F238E27FC236}">
                  <a16:creationId xmlns:a16="http://schemas.microsoft.com/office/drawing/2014/main" id="{A0774330-F283-4DE7-A700-406E0E5653DE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>
              <a:extLst>
                <a:ext uri="{FF2B5EF4-FFF2-40B4-BE49-F238E27FC236}">
                  <a16:creationId xmlns:a16="http://schemas.microsoft.com/office/drawing/2014/main" id="{75C20B39-7910-4412-8A88-BE86FFE07890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>
              <a:extLst>
                <a:ext uri="{FF2B5EF4-FFF2-40B4-BE49-F238E27FC236}">
                  <a16:creationId xmlns:a16="http://schemas.microsoft.com/office/drawing/2014/main" id="{184912F0-1514-4E05-A242-7E228F7B086B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>
              <a:extLst>
                <a:ext uri="{FF2B5EF4-FFF2-40B4-BE49-F238E27FC236}">
                  <a16:creationId xmlns:a16="http://schemas.microsoft.com/office/drawing/2014/main" id="{D7C867D3-BE75-4070-82BE-F1C817D2F84D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>
              <a:extLst>
                <a:ext uri="{FF2B5EF4-FFF2-40B4-BE49-F238E27FC236}">
                  <a16:creationId xmlns:a16="http://schemas.microsoft.com/office/drawing/2014/main" id="{592FFEDD-AA26-4AD9-9DA9-2171E9654257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>
              <a:extLst>
                <a:ext uri="{FF2B5EF4-FFF2-40B4-BE49-F238E27FC236}">
                  <a16:creationId xmlns:a16="http://schemas.microsoft.com/office/drawing/2014/main" id="{9CB49FC1-E612-4E97-A904-E5AA5F16F233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6" name="Straight Connector 255">
              <a:extLst>
                <a:ext uri="{FF2B5EF4-FFF2-40B4-BE49-F238E27FC236}">
                  <a16:creationId xmlns:a16="http://schemas.microsoft.com/office/drawing/2014/main" id="{9183D11E-1C47-4DE2-83B8-143ED256410B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>
              <a:extLst>
                <a:ext uri="{FF2B5EF4-FFF2-40B4-BE49-F238E27FC236}">
                  <a16:creationId xmlns:a16="http://schemas.microsoft.com/office/drawing/2014/main" id="{51944072-15A8-41F2-97C4-26CAC8300E2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>
              <a:extLst>
                <a:ext uri="{FF2B5EF4-FFF2-40B4-BE49-F238E27FC236}">
                  <a16:creationId xmlns:a16="http://schemas.microsoft.com/office/drawing/2014/main" id="{5CE92019-5B94-438F-A6E5-77DDAADA49B8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>
              <a:extLst>
                <a:ext uri="{FF2B5EF4-FFF2-40B4-BE49-F238E27FC236}">
                  <a16:creationId xmlns:a16="http://schemas.microsoft.com/office/drawing/2014/main" id="{CF9D88ED-8B1F-4BA6-B460-1DA40B3624C6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>
              <a:extLst>
                <a:ext uri="{FF2B5EF4-FFF2-40B4-BE49-F238E27FC236}">
                  <a16:creationId xmlns:a16="http://schemas.microsoft.com/office/drawing/2014/main" id="{F901F110-1B3C-439F-8848-58B9F16B0A72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>
              <a:extLst>
                <a:ext uri="{FF2B5EF4-FFF2-40B4-BE49-F238E27FC236}">
                  <a16:creationId xmlns:a16="http://schemas.microsoft.com/office/drawing/2014/main" id="{61684DC5-EFCF-454B-A667-411D95536B22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>
              <a:extLst>
                <a:ext uri="{FF2B5EF4-FFF2-40B4-BE49-F238E27FC236}">
                  <a16:creationId xmlns:a16="http://schemas.microsoft.com/office/drawing/2014/main" id="{3922BEE3-90F4-459B-BF8E-EBB279BC2A3A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3" name="Straight Connector 262">
              <a:extLst>
                <a:ext uri="{FF2B5EF4-FFF2-40B4-BE49-F238E27FC236}">
                  <a16:creationId xmlns:a16="http://schemas.microsoft.com/office/drawing/2014/main" id="{37C0DCAD-F616-4BC3-8E44-4275B1C62FB7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>
              <a:extLst>
                <a:ext uri="{FF2B5EF4-FFF2-40B4-BE49-F238E27FC236}">
                  <a16:creationId xmlns:a16="http://schemas.microsoft.com/office/drawing/2014/main" id="{33E24C7F-09BF-4FA0-B061-073649C3BCED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>
              <a:extLst>
                <a:ext uri="{FF2B5EF4-FFF2-40B4-BE49-F238E27FC236}">
                  <a16:creationId xmlns:a16="http://schemas.microsoft.com/office/drawing/2014/main" id="{613CD857-3A47-4EAD-8152-19BC7BAF3AAF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73FB35E4-4B5E-4D93-AE5E-248B13705C3E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>
              <a:extLst>
                <a:ext uri="{FF2B5EF4-FFF2-40B4-BE49-F238E27FC236}">
                  <a16:creationId xmlns:a16="http://schemas.microsoft.com/office/drawing/2014/main" id="{4E352A6E-C679-4605-96BA-F0E41BC60F8A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595A26F7-B7A6-4CA4-A68E-EC7CA891D433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9" name="Straight Connector 268">
              <a:extLst>
                <a:ext uri="{FF2B5EF4-FFF2-40B4-BE49-F238E27FC236}">
                  <a16:creationId xmlns:a16="http://schemas.microsoft.com/office/drawing/2014/main" id="{E1786F68-D5AC-41D8-A309-0F72F58BFC38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>
              <a:extLst>
                <a:ext uri="{FF2B5EF4-FFF2-40B4-BE49-F238E27FC236}">
                  <a16:creationId xmlns:a16="http://schemas.microsoft.com/office/drawing/2014/main" id="{4106E243-4FAE-419F-82C4-CCB68CDBDA3B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>
              <a:extLst>
                <a:ext uri="{FF2B5EF4-FFF2-40B4-BE49-F238E27FC236}">
                  <a16:creationId xmlns:a16="http://schemas.microsoft.com/office/drawing/2014/main" id="{4271AD43-FD7D-4A17-B79F-D30D0A256DAE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2" name="Straight Connector 271">
              <a:extLst>
                <a:ext uri="{FF2B5EF4-FFF2-40B4-BE49-F238E27FC236}">
                  <a16:creationId xmlns:a16="http://schemas.microsoft.com/office/drawing/2014/main" id="{AD1538EE-CE5B-4E6A-884A-473D2AB346D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3" name="Straight Connector 272">
              <a:extLst>
                <a:ext uri="{FF2B5EF4-FFF2-40B4-BE49-F238E27FC236}">
                  <a16:creationId xmlns:a16="http://schemas.microsoft.com/office/drawing/2014/main" id="{F5A32466-347E-4D2C-9B3E-DF301D7C92EA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4" name="main body box">
              <a:extLst>
                <a:ext uri="{FF2B5EF4-FFF2-40B4-BE49-F238E27FC236}">
                  <a16:creationId xmlns:a16="http://schemas.microsoft.com/office/drawing/2014/main" id="{7C50C87B-8C71-4FF9-91F9-25B864995CBA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275" name="Straight Connector 274">
              <a:extLst>
                <a:ext uri="{FF2B5EF4-FFF2-40B4-BE49-F238E27FC236}">
                  <a16:creationId xmlns:a16="http://schemas.microsoft.com/office/drawing/2014/main" id="{BBB7487E-099D-4F4F-B7D7-E8798F469AE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276" name="Straight Connector 275">
              <a:extLst>
                <a:ext uri="{FF2B5EF4-FFF2-40B4-BE49-F238E27FC236}">
                  <a16:creationId xmlns:a16="http://schemas.microsoft.com/office/drawing/2014/main" id="{58C71842-D665-4723-96E9-8C6AD2454CB7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77" name="4. Footnote" hidden="1">
            <a:extLst>
              <a:ext uri="{FF2B5EF4-FFF2-40B4-BE49-F238E27FC236}">
                <a16:creationId xmlns:a16="http://schemas.microsoft.com/office/drawing/2014/main" id="{B76F288C-5B46-4FE3-904F-B95A8E5AA239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278" name="ACET" hidden="1">
            <a:extLst>
              <a:ext uri="{FF2B5EF4-FFF2-40B4-BE49-F238E27FC236}">
                <a16:creationId xmlns:a16="http://schemas.microsoft.com/office/drawing/2014/main" id="{6314530E-BF10-48EA-B654-50BA7AE12E52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grpSp>
        <p:nvGrpSpPr>
          <p:cNvPr id="279" name="LegendLines" hidden="1">
            <a:extLst>
              <a:ext uri="{FF2B5EF4-FFF2-40B4-BE49-F238E27FC236}">
                <a16:creationId xmlns:a16="http://schemas.microsoft.com/office/drawing/2014/main" id="{3F35FF3E-8C34-4CEE-A12D-B7DB088911C8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280" name="Legend1">
              <a:extLst>
                <a:ext uri="{FF2B5EF4-FFF2-40B4-BE49-F238E27FC236}">
                  <a16:creationId xmlns:a16="http://schemas.microsoft.com/office/drawing/2014/main" id="{84E3C89F-1956-41C7-970F-B3A7DBDEFD5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1" name="Legend2">
              <a:extLst>
                <a:ext uri="{FF2B5EF4-FFF2-40B4-BE49-F238E27FC236}">
                  <a16:creationId xmlns:a16="http://schemas.microsoft.com/office/drawing/2014/main" id="{79359D3A-A7F5-486C-B9C9-2AC35B7C3251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2" name="Legend3">
              <a:extLst>
                <a:ext uri="{FF2B5EF4-FFF2-40B4-BE49-F238E27FC236}">
                  <a16:creationId xmlns:a16="http://schemas.microsoft.com/office/drawing/2014/main" id="{FB0F937B-B0AD-4C0B-98ED-B6CDE46EC85A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3" name="LineLegend3">
              <a:extLst>
                <a:ext uri="{FF2B5EF4-FFF2-40B4-BE49-F238E27FC236}">
                  <a16:creationId xmlns:a16="http://schemas.microsoft.com/office/drawing/2014/main" id="{AA9D1380-7BA3-4B29-8F28-AC04F2292822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4" name="LineLegend2">
              <a:extLst>
                <a:ext uri="{FF2B5EF4-FFF2-40B4-BE49-F238E27FC236}">
                  <a16:creationId xmlns:a16="http://schemas.microsoft.com/office/drawing/2014/main" id="{6320EBD7-9F43-425D-88B9-563049CD0C1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285" name="LineLegend1">
              <a:extLst>
                <a:ext uri="{FF2B5EF4-FFF2-40B4-BE49-F238E27FC236}">
                  <a16:creationId xmlns:a16="http://schemas.microsoft.com/office/drawing/2014/main" id="{9D517A8D-7FE6-4490-A0CD-CC06374847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286" name="LegendMoons" hidden="1">
            <a:extLst>
              <a:ext uri="{FF2B5EF4-FFF2-40B4-BE49-F238E27FC236}">
                <a16:creationId xmlns:a16="http://schemas.microsoft.com/office/drawing/2014/main" id="{90A1EDED-702C-4B6D-9065-3E06E79D2E7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287" name="Legend1">
              <a:extLst>
                <a:ext uri="{FF2B5EF4-FFF2-40B4-BE49-F238E27FC236}">
                  <a16:creationId xmlns:a16="http://schemas.microsoft.com/office/drawing/2014/main" id="{195A17CC-DDF7-41BE-909E-8F797945CC60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8" name="Legend2">
              <a:extLst>
                <a:ext uri="{FF2B5EF4-FFF2-40B4-BE49-F238E27FC236}">
                  <a16:creationId xmlns:a16="http://schemas.microsoft.com/office/drawing/2014/main" id="{DA7FE44E-8CF7-4704-8F46-31879D7E4926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89" name="Legend3">
              <a:extLst>
                <a:ext uri="{FF2B5EF4-FFF2-40B4-BE49-F238E27FC236}">
                  <a16:creationId xmlns:a16="http://schemas.microsoft.com/office/drawing/2014/main" id="{CF2BA7F9-D5CF-430A-BE1F-3D7CBE0A6BAE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0" name="Legend4">
              <a:extLst>
                <a:ext uri="{FF2B5EF4-FFF2-40B4-BE49-F238E27FC236}">
                  <a16:creationId xmlns:a16="http://schemas.microsoft.com/office/drawing/2014/main" id="{44F6D080-97F8-45D7-B2F6-72E9E0B4C10D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91" name="Legend5">
              <a:extLst>
                <a:ext uri="{FF2B5EF4-FFF2-40B4-BE49-F238E27FC236}">
                  <a16:creationId xmlns:a16="http://schemas.microsoft.com/office/drawing/2014/main" id="{5E4B51BC-4D04-4FFC-B31F-1D3566D3425C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92" name="MoonLegend1">
              <a:extLst>
                <a:ext uri="{FF2B5EF4-FFF2-40B4-BE49-F238E27FC236}">
                  <a16:creationId xmlns:a16="http://schemas.microsoft.com/office/drawing/2014/main" id="{40E65CBE-1B4E-4B86-8626-CDA899ED56D3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305" name="Oval 304">
                <a:extLst>
                  <a:ext uri="{FF2B5EF4-FFF2-40B4-BE49-F238E27FC236}">
                    <a16:creationId xmlns:a16="http://schemas.microsoft.com/office/drawing/2014/main" id="{EDA4C318-8237-4C7D-9B14-D9BED635B3B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6" name="Arc 305">
                <a:extLst>
                  <a:ext uri="{FF2B5EF4-FFF2-40B4-BE49-F238E27FC236}">
                    <a16:creationId xmlns:a16="http://schemas.microsoft.com/office/drawing/2014/main" id="{BF96AB4E-BE9D-4D9D-9DD2-76BB3E5740F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3" name="MoonLegend2">
              <a:extLst>
                <a:ext uri="{FF2B5EF4-FFF2-40B4-BE49-F238E27FC236}">
                  <a16:creationId xmlns:a16="http://schemas.microsoft.com/office/drawing/2014/main" id="{703E8661-43C2-4B57-B1BA-9BE4E330AC7D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303" name="Oval 302">
                <a:extLst>
                  <a:ext uri="{FF2B5EF4-FFF2-40B4-BE49-F238E27FC236}">
                    <a16:creationId xmlns:a16="http://schemas.microsoft.com/office/drawing/2014/main" id="{F5F93340-13D4-45DD-9EF4-68CA98C36EA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4" name="Arc 303">
                <a:extLst>
                  <a:ext uri="{FF2B5EF4-FFF2-40B4-BE49-F238E27FC236}">
                    <a16:creationId xmlns:a16="http://schemas.microsoft.com/office/drawing/2014/main" id="{E95F4D35-F49D-4B16-BF96-624956A9C22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4" name="MoonLegend3">
              <a:extLst>
                <a:ext uri="{FF2B5EF4-FFF2-40B4-BE49-F238E27FC236}">
                  <a16:creationId xmlns:a16="http://schemas.microsoft.com/office/drawing/2014/main" id="{B05ACEFD-50D6-4CD0-94DF-4FB95812C31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301" name="Oval 300">
                <a:extLst>
                  <a:ext uri="{FF2B5EF4-FFF2-40B4-BE49-F238E27FC236}">
                    <a16:creationId xmlns:a16="http://schemas.microsoft.com/office/drawing/2014/main" id="{404F0EC3-86E4-4FD1-BBEF-8922FBE7DF4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2" name="Arc 301">
                <a:extLst>
                  <a:ext uri="{FF2B5EF4-FFF2-40B4-BE49-F238E27FC236}">
                    <a16:creationId xmlns:a16="http://schemas.microsoft.com/office/drawing/2014/main" id="{6F2150E9-13BA-4F40-83A1-05459061EC2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5" name="MoonLegend4">
              <a:extLst>
                <a:ext uri="{FF2B5EF4-FFF2-40B4-BE49-F238E27FC236}">
                  <a16:creationId xmlns:a16="http://schemas.microsoft.com/office/drawing/2014/main" id="{FE6DD8FF-CC26-467D-AA0D-0BC3E44FB8A8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99" name="Oval 298">
                <a:extLst>
                  <a:ext uri="{FF2B5EF4-FFF2-40B4-BE49-F238E27FC236}">
                    <a16:creationId xmlns:a16="http://schemas.microsoft.com/office/drawing/2014/main" id="{4CCCA672-DCDE-46A3-9A60-7F40CE5CE9E9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300" name="Arc 299">
                <a:extLst>
                  <a:ext uri="{FF2B5EF4-FFF2-40B4-BE49-F238E27FC236}">
                    <a16:creationId xmlns:a16="http://schemas.microsoft.com/office/drawing/2014/main" id="{A0E55C51-92F3-4E7E-84AA-C0263184BE4B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96" name="MoonLegend5">
              <a:extLst>
                <a:ext uri="{FF2B5EF4-FFF2-40B4-BE49-F238E27FC236}">
                  <a16:creationId xmlns:a16="http://schemas.microsoft.com/office/drawing/2014/main" id="{9156B99F-2205-4358-B20E-523A731A1A5A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97" name="Oval 296">
                <a:extLst>
                  <a:ext uri="{FF2B5EF4-FFF2-40B4-BE49-F238E27FC236}">
                    <a16:creationId xmlns:a16="http://schemas.microsoft.com/office/drawing/2014/main" id="{40325C94-9DC2-41C8-AA7A-B4EC1F1D1B8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98" name="Arc 297">
                <a:extLst>
                  <a:ext uri="{FF2B5EF4-FFF2-40B4-BE49-F238E27FC236}">
                    <a16:creationId xmlns:a16="http://schemas.microsoft.com/office/drawing/2014/main" id="{5355D22D-3D47-43F4-838C-BDED7F36942D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307" name="LegendBoxes" hidden="1">
            <a:extLst>
              <a:ext uri="{FF2B5EF4-FFF2-40B4-BE49-F238E27FC236}">
                <a16:creationId xmlns:a16="http://schemas.microsoft.com/office/drawing/2014/main" id="{9E3DD68B-1605-4276-964F-342F46CFD4F8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308" name="RectangleLegend1">
              <a:extLst>
                <a:ext uri="{FF2B5EF4-FFF2-40B4-BE49-F238E27FC236}">
                  <a16:creationId xmlns:a16="http://schemas.microsoft.com/office/drawing/2014/main" id="{146D86DE-4CB3-4ADF-9EFE-A89C31E1B24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09" name="RectangleLegend2">
              <a:extLst>
                <a:ext uri="{FF2B5EF4-FFF2-40B4-BE49-F238E27FC236}">
                  <a16:creationId xmlns:a16="http://schemas.microsoft.com/office/drawing/2014/main" id="{69392085-FFD8-4361-9760-6724EA15104C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0" name="RectangleLegend3">
              <a:extLst>
                <a:ext uri="{FF2B5EF4-FFF2-40B4-BE49-F238E27FC236}">
                  <a16:creationId xmlns:a16="http://schemas.microsoft.com/office/drawing/2014/main" id="{05F4D363-CF86-42DF-B6F8-07933160DD1E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1" name="RectangleLegend4">
              <a:extLst>
                <a:ext uri="{FF2B5EF4-FFF2-40B4-BE49-F238E27FC236}">
                  <a16:creationId xmlns:a16="http://schemas.microsoft.com/office/drawing/2014/main" id="{DE4953E5-9817-4FB8-B9CC-364338C49C37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2" name="RectangleLegend5">
              <a:extLst>
                <a:ext uri="{FF2B5EF4-FFF2-40B4-BE49-F238E27FC236}">
                  <a16:creationId xmlns:a16="http://schemas.microsoft.com/office/drawing/2014/main" id="{56DE1773-7C04-4037-B997-7597D542F43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313" name="Legend1">
              <a:extLst>
                <a:ext uri="{FF2B5EF4-FFF2-40B4-BE49-F238E27FC236}">
                  <a16:creationId xmlns:a16="http://schemas.microsoft.com/office/drawing/2014/main" id="{5A9682AA-07AF-44F4-9A25-A8C2F52DB926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4" name="Legend2">
              <a:extLst>
                <a:ext uri="{FF2B5EF4-FFF2-40B4-BE49-F238E27FC236}">
                  <a16:creationId xmlns:a16="http://schemas.microsoft.com/office/drawing/2014/main" id="{EB29B777-0700-47E0-A1D4-0415F80339C1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5" name="Legend3">
              <a:extLst>
                <a:ext uri="{FF2B5EF4-FFF2-40B4-BE49-F238E27FC236}">
                  <a16:creationId xmlns:a16="http://schemas.microsoft.com/office/drawing/2014/main" id="{63BC233C-0A0A-430E-8F29-189F804D2157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6" name="Legend4">
              <a:extLst>
                <a:ext uri="{FF2B5EF4-FFF2-40B4-BE49-F238E27FC236}">
                  <a16:creationId xmlns:a16="http://schemas.microsoft.com/office/drawing/2014/main" id="{650C6D74-A398-47D3-BBEA-635D17E927B5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317" name="Legend5">
              <a:extLst>
                <a:ext uri="{FF2B5EF4-FFF2-40B4-BE49-F238E27FC236}">
                  <a16:creationId xmlns:a16="http://schemas.microsoft.com/office/drawing/2014/main" id="{14E4BCE6-1702-4A74-B4FA-04B76C7F900F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318" name="Sticker" hidden="1">
            <a:extLst>
              <a:ext uri="{FF2B5EF4-FFF2-40B4-BE49-F238E27FC236}">
                <a16:creationId xmlns:a16="http://schemas.microsoft.com/office/drawing/2014/main" id="{24218FBF-FB8B-4BE0-B12A-CFF4F6A88210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3872360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  <p:sldLayoutId id="2147483988" r:id="rId12"/>
    <p:sldLayoutId id="2147483989" r:id="rId13"/>
    <p:sldLayoutId id="2147483990" r:id="rId14"/>
    <p:sldLayoutId id="2147483991" r:id="rId15"/>
    <p:sldLayoutId id="2147483992" r:id="rId16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1B5A9C7-F407-4B08-AC8C-F71F2584F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11453692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592" imgH="591" progId="TCLayout.ActiveDocument.1">
                  <p:embed/>
                </p:oleObj>
              </mc:Choice>
              <mc:Fallback>
                <p:oleObj name="think-cell Slide" r:id="rId3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1B5A9C7-F407-4B08-AC8C-F71F2584F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1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1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59C73B80-C65C-4AD7-A15C-BA106A90DD77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1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1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BD937E-09CF-4199-95F6-B0EBC38559E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" y="5021581"/>
            <a:ext cx="803275" cy="123111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NL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2896655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3" r:id="rId1"/>
    <p:sldLayoutId id="2147484024" r:id="rId2"/>
    <p:sldLayoutId id="2147484025" r:id="rId3"/>
    <p:sldLayoutId id="2147484026" r:id="rId4"/>
    <p:sldLayoutId id="2147484027" r:id="rId5"/>
    <p:sldLayoutId id="2147484028" r:id="rId6"/>
    <p:sldLayoutId id="2147484029" r:id="rId7"/>
    <p:sldLayoutId id="2147484030" r:id="rId8"/>
    <p:sldLayoutId id="2147484031" r:id="rId9"/>
    <p:sldLayoutId id="2147484032" r:id="rId10"/>
    <p:sldLayoutId id="2147484033" r:id="rId11"/>
    <p:sldLayoutId id="2147484034" r:id="rId12"/>
    <p:sldLayoutId id="2147484035" r:id="rId13"/>
    <p:sldLayoutId id="2147484036" r:id="rId14"/>
    <p:sldLayoutId id="2147484037" r:id="rId15"/>
    <p:sldLayoutId id="2147484038" r:id="rId16"/>
    <p:sldLayoutId id="2147484039" r:id="rId17"/>
    <p:sldLayoutId id="2147484040" r:id="rId18"/>
    <p:sldLayoutId id="2147484041" r:id="rId19"/>
    <p:sldLayoutId id="2147484042" r:id="rId20"/>
    <p:sldLayoutId id="2147484043" r:id="rId21"/>
    <p:sldLayoutId id="2147484044" r:id="rId22"/>
    <p:sldLayoutId id="2147484045" r:id="rId23"/>
    <p:sldLayoutId id="2147484046" r:id="rId24"/>
    <p:sldLayoutId id="2147484047" r:id="rId25"/>
    <p:sldLayoutId id="2147484048" r:id="rId26"/>
    <p:sldLayoutId id="2147484049" r:id="rId27"/>
    <p:sldLayoutId id="2147484050" r:id="rId28"/>
    <p:sldLayoutId id="2147484051" r:id="rId29"/>
    <p:sldLayoutId id="2147484052" r:id="rId3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3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783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9991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19982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9973" indent="-359991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783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5E0B8B61-27B5-45FD-99F3-258429A577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38253067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5E0B8B61-27B5-45FD-99F3-258429A577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47D5398-7070-473B-A412-A9AEA384C9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213" y="425450"/>
            <a:ext cx="8029575" cy="8699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47719C-7D6E-4EC3-9B77-5FE8197F9D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213" y="1295400"/>
            <a:ext cx="8029575" cy="333494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1E4EEA-1D06-4A33-84C5-C0AB423854A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36159" y="4838400"/>
            <a:ext cx="2057400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fld id="{4F974F8B-46B8-4975-A618-A971DA95EFD5}" type="datetime1">
              <a:rPr lang="en-GB" smtClean="0"/>
              <a:t>24/10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0AF207B-B60F-4C7F-AA4F-411C5E312FD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7212" y="4838400"/>
            <a:ext cx="3940176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lnSpc>
                <a:spcPct val="90000"/>
              </a:lnSpc>
              <a:spcBef>
                <a:spcPts val="0"/>
              </a:spcBef>
              <a:defRPr sz="800" b="1" cap="all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3B18286-AFC3-45C1-9396-A22798BC90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93559" y="4838400"/>
            <a:ext cx="193228" cy="18603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90000"/>
              </a:lnSpc>
              <a:spcBef>
                <a:spcPts val="0"/>
              </a:spcBef>
              <a:defRPr sz="800">
                <a:solidFill>
                  <a:schemeClr val="accent6"/>
                </a:solidFill>
              </a:defRPr>
            </a:lvl1pPr>
          </a:lstStyle>
          <a:p>
            <a:fld id="{5B4A74C5-79B0-4340-9A8D-1CCBE3E8C644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3FD1D3-88B2-4F8B-B55B-934A464C467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5021580"/>
            <a:ext cx="8032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sitivity: general</a:t>
            </a:r>
          </a:p>
        </p:txBody>
      </p:sp>
    </p:spTree>
    <p:extLst>
      <p:ext uri="{BB962C8B-B14F-4D97-AF65-F5344CB8AC3E}">
        <p14:creationId xmlns:p14="http://schemas.microsoft.com/office/powerpoint/2010/main" val="15254473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4" r:id="rId1"/>
    <p:sldLayoutId id="2147484055" r:id="rId2"/>
    <p:sldLayoutId id="2147484056" r:id="rId3"/>
    <p:sldLayoutId id="2147484057" r:id="rId4"/>
    <p:sldLayoutId id="2147484058" r:id="rId5"/>
    <p:sldLayoutId id="2147484059" r:id="rId6"/>
    <p:sldLayoutId id="2147484060" r:id="rId7"/>
    <p:sldLayoutId id="2147484061" r:id="rId8"/>
    <p:sldLayoutId id="2147484062" r:id="rId9"/>
    <p:sldLayoutId id="2147484063" r:id="rId10"/>
    <p:sldLayoutId id="2147484064" r:id="rId11"/>
    <p:sldLayoutId id="2147484065" r:id="rId12"/>
    <p:sldLayoutId id="2147484066" r:id="rId13"/>
    <p:sldLayoutId id="2147484067" r:id="rId14"/>
    <p:sldLayoutId id="2147484068" r:id="rId15"/>
    <p:sldLayoutId id="2147484069" r:id="rId16"/>
    <p:sldLayoutId id="2147484070" r:id="rId17"/>
    <p:sldLayoutId id="2147484071" r:id="rId18"/>
    <p:sldLayoutId id="2147484072" r:id="rId19"/>
    <p:sldLayoutId id="2147484073" r:id="rId20"/>
    <p:sldLayoutId id="2147484074" r:id="rId21"/>
    <p:sldLayoutId id="2147484075" r:id="rId22"/>
    <p:sldLayoutId id="2147484076" r:id="rId23"/>
    <p:sldLayoutId id="2147484077" r:id="rId24"/>
    <p:sldLayoutId id="2147484078" r:id="rId25"/>
    <p:sldLayoutId id="2147484079" r:id="rId26"/>
    <p:sldLayoutId id="2147484080" r:id="rId27"/>
    <p:sldLayoutId id="2147484081" r:id="rId2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800" rtl="0" eaLnBrk="1" latinLnBrk="0" hangingPunct="1">
        <a:lnSpc>
          <a:spcPct val="90000"/>
        </a:lnSpc>
        <a:spcBef>
          <a:spcPts val="0"/>
        </a:spcBef>
        <a:buNone/>
        <a:defRPr sz="22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72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80000" indent="-36000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Char char="―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00000"/>
        </a:lnSpc>
        <a:spcBef>
          <a:spcPts val="0"/>
        </a:spcBef>
        <a:buFont typeface="Trebuchet MS" panose="020B0603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4" pos="5409">
          <p15:clr>
            <a:srgbClr val="F26B43"/>
          </p15:clr>
        </p15:guide>
        <p15:guide id="5" orient="horz" pos="268">
          <p15:clr>
            <a:srgbClr val="F26B43"/>
          </p15:clr>
        </p15:guide>
        <p15:guide id="7" orient="horz" pos="816">
          <p15:clr>
            <a:srgbClr val="F26B43"/>
          </p15:clr>
        </p15:guide>
        <p15:guide id="10" orient="horz" pos="2919">
          <p15:clr>
            <a:srgbClr val="F26B43"/>
          </p15:clr>
        </p15:guide>
        <p15:guide id="11" pos="351">
          <p15:clr>
            <a:srgbClr val="F26B43"/>
          </p15:clr>
        </p15:guide>
        <p15:guide id="12" pos="2833">
          <p15:clr>
            <a:srgbClr val="F26B43"/>
          </p15:clr>
        </p15:guide>
        <p15:guide id="13" pos="2927">
          <p15:clr>
            <a:srgbClr val="F26B43"/>
          </p15:clr>
        </p15:guide>
        <p15:guide id="14" pos="2283">
          <p15:clr>
            <a:srgbClr val="F26B43"/>
          </p15:clr>
        </p15:guide>
        <p15:guide id="15" pos="3477">
          <p15:clr>
            <a:srgbClr val="F26B43"/>
          </p15:clr>
        </p15:guide>
        <p15:guide id="16" pos="2189">
          <p15:clr>
            <a:srgbClr val="F26B43"/>
          </p15:clr>
        </p15:guide>
        <p15:guide id="17" pos="3571">
          <p15:clr>
            <a:srgbClr val="F26B43"/>
          </p15:clr>
        </p15:guide>
        <p15:guide id="18" pos="1640">
          <p15:clr>
            <a:srgbClr val="F26B43"/>
          </p15:clr>
        </p15:guide>
        <p15:guide id="19" pos="1545">
          <p15:clr>
            <a:srgbClr val="F26B43"/>
          </p15:clr>
        </p15:guide>
        <p15:guide id="20" pos="4120">
          <p15:clr>
            <a:srgbClr val="F26B43"/>
          </p15:clr>
        </p15:guide>
        <p15:guide id="21" pos="4215">
          <p15:clr>
            <a:srgbClr val="F26B43"/>
          </p15:clr>
        </p15:guide>
        <p15:guide id="22" pos="4764">
          <p15:clr>
            <a:srgbClr val="F26B43"/>
          </p15:clr>
        </p15:guide>
        <p15:guide id="23" pos="995">
          <p15:clr>
            <a:srgbClr val="F26B43"/>
          </p15:clr>
        </p15:guide>
        <p15:guide id="24" pos="900">
          <p15:clr>
            <a:srgbClr val="F26B43"/>
          </p15:clr>
        </p15:guide>
        <p15:guide id="25" pos="486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629012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25"/>
              </a:spcBef>
              <a:spcAft>
                <a:spcPts val="225"/>
              </a:spcAft>
            </a:pPr>
            <a:endParaRPr lang="en-GB" sz="1875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9142857" cy="51435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GB" sz="101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GB" sz="992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415479" y="4738618"/>
            <a:ext cx="5458968" cy="92333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en-GB" sz="6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416052" y="129159"/>
            <a:ext cx="8311896" cy="2885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4490804" y="1628100"/>
            <a:ext cx="2286940" cy="4462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en-GB" sz="1200"/>
              <a:t>Above Chart Exhibit Title</a:t>
            </a:r>
          </a:p>
          <a:p>
            <a:pPr lvl="0" rtl="0"/>
            <a:r>
              <a:rPr lang="en-GB" sz="12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6053" y="1628100"/>
            <a:ext cx="1863491" cy="12234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13CBCC67-18F2-4EFC-82A8-3E56BE28D62E}"/>
              </a:ext>
            </a:extLst>
          </p:cNvPr>
          <p:cNvGrpSpPr/>
          <p:nvPr userDrawn="1"/>
        </p:nvGrpSpPr>
        <p:grpSpPr>
          <a:xfrm>
            <a:off x="7737976" y="2362669"/>
            <a:ext cx="994780" cy="718715"/>
            <a:chOff x="10162879" y="3243772"/>
            <a:chExt cx="1326373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B108DF55-80EF-4ACA-B489-5ED07F6909FC}"/>
                </a:ext>
              </a:extLst>
            </p:cNvPr>
            <p:cNvSpPr txBox="1"/>
            <p:nvPr/>
          </p:nvSpPr>
          <p:spPr>
            <a:xfrm>
              <a:off x="10886523" y="324377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1D22E06E-A479-4D46-B497-94FFA023A46A}"/>
                </a:ext>
              </a:extLst>
            </p:cNvPr>
            <p:cNvSpPr txBox="1"/>
            <p:nvPr/>
          </p:nvSpPr>
          <p:spPr>
            <a:xfrm>
              <a:off x="10886521" y="361519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4C56A362-B9EF-45F0-BC5C-71AD65164D71}"/>
                </a:ext>
              </a:extLst>
            </p:cNvPr>
            <p:cNvSpPr txBox="1"/>
            <p:nvPr/>
          </p:nvSpPr>
          <p:spPr>
            <a:xfrm>
              <a:off x="10886521" y="398661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A45BEE1D-66B3-4FD2-93D8-B813D41F2C1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BD15D604-48B5-495F-A46B-EF62A94318D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D397E205-251E-452C-A7D0-B7020E0C30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pPr rtl="0"/>
              <a:endParaRPr lang="en-GB" sz="105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A1BE0236-FB3A-4105-8E80-0AFAA4249FB9}"/>
              </a:ext>
            </a:extLst>
          </p:cNvPr>
          <p:cNvGrpSpPr/>
          <p:nvPr userDrawn="1"/>
        </p:nvGrpSpPr>
        <p:grpSpPr>
          <a:xfrm>
            <a:off x="8016235" y="859030"/>
            <a:ext cx="716521" cy="1298894"/>
            <a:chOff x="7723680" y="1702457"/>
            <a:chExt cx="955362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601ADBBE-C171-4E9F-9AD6-A1AE11FB081F}"/>
                </a:ext>
              </a:extLst>
            </p:cNvPr>
            <p:cNvSpPr txBox="1"/>
            <p:nvPr/>
          </p:nvSpPr>
          <p:spPr>
            <a:xfrm>
              <a:off x="8076312" y="1709816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8D0B07BA-5810-4F08-9DE4-21B37E99F87D}"/>
                </a:ext>
              </a:extLst>
            </p:cNvPr>
            <p:cNvSpPr txBox="1"/>
            <p:nvPr/>
          </p:nvSpPr>
          <p:spPr>
            <a:xfrm>
              <a:off x="8076312" y="208527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48662AAF-C43F-42FE-9995-9909ABA314AD}"/>
                </a:ext>
              </a:extLst>
            </p:cNvPr>
            <p:cNvSpPr txBox="1"/>
            <p:nvPr/>
          </p:nvSpPr>
          <p:spPr>
            <a:xfrm>
              <a:off x="8076312" y="2460734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73AAB46F-8EBA-4D60-B897-BD4A2944F3A5}"/>
                </a:ext>
              </a:extLst>
            </p:cNvPr>
            <p:cNvSpPr txBox="1"/>
            <p:nvPr/>
          </p:nvSpPr>
          <p:spPr>
            <a:xfrm>
              <a:off x="8076312" y="2836193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ED3EC00-97C9-47ED-BE84-48F05456520D}"/>
                </a:ext>
              </a:extLst>
            </p:cNvPr>
            <p:cNvSpPr txBox="1"/>
            <p:nvPr/>
          </p:nvSpPr>
          <p:spPr>
            <a:xfrm>
              <a:off x="8076312" y="3211655"/>
              <a:ext cx="602730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8E429265-9720-4FBE-B997-71F29AE5D82C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EDFFA76B-5C97-4E40-A525-D44046F67E8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57D9AA33-F302-41B9-9849-FED90E508393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29411603-31DC-4A3A-9001-38428AEF6FE3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952904-85D5-4B7E-AB23-14ECA4A6EEF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3A0E309C-1A66-4A13-A8CC-35E1777DCE9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62BDB65A-495E-45F2-BA19-CAEB2387D2C9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E4C18139-033D-4B0D-B1AC-6D9CD02DD493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9AA2EF38-2025-4719-9D36-E91980A3D83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B287EFA2-1635-4525-9B39-81FD617C575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A10F4BED-0978-4BFD-88BC-A171F6DCE91A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560FBCC5-9568-48B8-BBB6-3725FFCD1CC7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79E0134-DF46-40FB-9A54-05C62BA041A3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D88C259E-1832-403B-AADD-EB23D627CF6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 rtl="0"/>
                <a:endParaRPr lang="en-GB" sz="105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EFC8B9AD-7890-4526-8A24-0D3D8AC0ADBC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 rtl="0"/>
                <a:endParaRPr lang="en-GB" sz="105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CCEB2E17-61C5-43C9-BA4C-66C9369FFCE2}"/>
              </a:ext>
            </a:extLst>
          </p:cNvPr>
          <p:cNvGrpSpPr/>
          <p:nvPr userDrawn="1"/>
        </p:nvGrpSpPr>
        <p:grpSpPr>
          <a:xfrm>
            <a:off x="8036098" y="3278498"/>
            <a:ext cx="696657" cy="1287962"/>
            <a:chOff x="10652400" y="4322824"/>
            <a:chExt cx="928876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15B3C1E6-C8BB-4BFC-9BB7-12D406B6EBA4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63BE5DBC-3710-4B51-9935-6BE5A2F6B66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6C3AE624-6E2C-4EEB-9F55-3E6C4F2FDE22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E006728D-33E6-4542-9371-1DD47F090079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67A0F3D8-A813-43CB-904D-49DBEE99A920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GB" sz="105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E71830ED-D18B-403A-8578-CE7149D3E78E}"/>
                </a:ext>
              </a:extLst>
            </p:cNvPr>
            <p:cNvSpPr txBox="1"/>
            <p:nvPr/>
          </p:nvSpPr>
          <p:spPr>
            <a:xfrm>
              <a:off x="10978547" y="4322824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EE2E0BF1-546D-4778-AD45-6B7784307BDD}"/>
                </a:ext>
              </a:extLst>
            </p:cNvPr>
            <p:cNvSpPr txBox="1"/>
            <p:nvPr/>
          </p:nvSpPr>
          <p:spPr>
            <a:xfrm>
              <a:off x="10978547" y="4702323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5BAB24A-4F5E-43A9-826F-7AE53BA18F50}"/>
                </a:ext>
              </a:extLst>
            </p:cNvPr>
            <p:cNvSpPr txBox="1"/>
            <p:nvPr/>
          </p:nvSpPr>
          <p:spPr>
            <a:xfrm>
              <a:off x="10978547" y="5081820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E840042-6D01-4429-862A-6A25410F8DDD}"/>
                </a:ext>
              </a:extLst>
            </p:cNvPr>
            <p:cNvSpPr txBox="1"/>
            <p:nvPr/>
          </p:nvSpPr>
          <p:spPr>
            <a:xfrm>
              <a:off x="10978547" y="5453241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6489A0A7-9D8C-47B9-9A2E-D0D6B42A9660}"/>
                </a:ext>
              </a:extLst>
            </p:cNvPr>
            <p:cNvSpPr txBox="1"/>
            <p:nvPr/>
          </p:nvSpPr>
          <p:spPr>
            <a:xfrm>
              <a:off x="10978545" y="5824662"/>
              <a:ext cx="60272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 rtl="0">
                <a:spcAft>
                  <a:spcPts val="450"/>
                </a:spcAft>
              </a:pPr>
              <a:r>
                <a:rPr lang="en-GB" sz="1050"/>
                <a:t>Legend</a:t>
              </a:r>
            </a:p>
          </p:txBody>
        </p:sp>
      </p:grpSp>
      <p:sp>
        <p:nvSpPr>
          <p:cNvPr id="153" name="Sticker" hidden="1">
            <a:extLst>
              <a:ext uri="{FF2B5EF4-FFF2-40B4-BE49-F238E27FC236}">
                <a16:creationId xmlns:a16="http://schemas.microsoft.com/office/drawing/2014/main" id="{0C1E1768-3CCE-4BDE-9FA0-560E02D7B9B7}"/>
              </a:ext>
            </a:extLst>
          </p:cNvPr>
          <p:cNvSpPr txBox="1"/>
          <p:nvPr userDrawn="1"/>
        </p:nvSpPr>
        <p:spPr>
          <a:xfrm>
            <a:off x="416052" y="674431"/>
            <a:ext cx="338234" cy="92333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en-GB" sz="600"/>
              <a:t>STICKER</a:t>
            </a:r>
          </a:p>
        </p:txBody>
      </p:sp>
    </p:spTree>
    <p:extLst>
      <p:ext uri="{BB962C8B-B14F-4D97-AF65-F5344CB8AC3E}">
        <p14:creationId xmlns:p14="http://schemas.microsoft.com/office/powerpoint/2010/main" val="215793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4" r:id="rId1"/>
    <p:sldLayoutId id="2147484135" r:id="rId2"/>
    <p:sldLayoutId id="2147484136" r:id="rId3"/>
    <p:sldLayoutId id="2147484137" r:id="rId4"/>
    <p:sldLayoutId id="2147484138" r:id="rId5"/>
    <p:sldLayoutId id="2147484139" r:id="rId6"/>
    <p:sldLayoutId id="2147484140" r:id="rId7"/>
    <p:sldLayoutId id="2147484141" r:id="rId8"/>
    <p:sldLayoutId id="2147484142" r:id="rId9"/>
    <p:sldLayoutId id="2147484143" r:id="rId10"/>
    <p:sldLayoutId id="2147484144" r:id="rId11"/>
    <p:sldLayoutId id="2147484145" r:id="rId12"/>
    <p:sldLayoutId id="2147484146" r:id="rId13"/>
    <p:sldLayoutId id="2147484147" r:id="rId14"/>
    <p:sldLayoutId id="2147484148" r:id="rId15"/>
    <p:sldLayoutId id="2147484149" r:id="rId16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lang="en-US" sz="1875" b="1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225"/>
        </a:spcBef>
        <a:spcAft>
          <a:spcPts val="22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71450" indent="-16906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32185" indent="-160735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448866" indent="-114300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13172" indent="-110729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14388" indent="-128588" algn="l" defTabSz="685800" rtl="0" eaLnBrk="1" latinLnBrk="0" hangingPunct="1">
        <a:lnSpc>
          <a:spcPct val="100000"/>
        </a:lnSpc>
        <a:spcBef>
          <a:spcPts val="0"/>
        </a:spcBef>
        <a:spcAft>
          <a:spcPts val="225"/>
        </a:spcAft>
        <a:buSzPct val="100000"/>
        <a:buFont typeface="Arial" panose="020B0604020202020204" pitchFamily="34" charset="0"/>
        <a:buChar char="▫"/>
        <a:defRPr sz="12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03.xml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0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Relationship Id="rId9" Type="http://schemas.openxmlformats.org/officeDocument/2006/relationships/image" Target="../media/image3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53.xml"/><Relationship Id="rId1" Type="http://schemas.openxmlformats.org/officeDocument/2006/relationships/tags" Target="../tags/tag1024.xml"/><Relationship Id="rId6" Type="http://schemas.openxmlformats.org/officeDocument/2006/relationships/image" Target="../media/image3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8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0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26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28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763737-38B8-4D7F-A42C-47105FC08C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7214" y="2520000"/>
            <a:ext cx="4690350" cy="828000"/>
          </a:xfrm>
        </p:spPr>
        <p:txBody>
          <a:bodyPr/>
          <a:lstStyle/>
          <a:p>
            <a:r>
              <a:rPr lang="en-GB" sz="2400" spc="-10"/>
              <a:t>Together towards a zero-carbon emissions, circular world</a:t>
            </a:r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63D0EC4C-46EC-F2F6-FFB3-B6373DEEEB8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829" y="1739146"/>
            <a:ext cx="8582400" cy="2613460"/>
          </a:xfrm>
          <a:custGeom>
            <a:avLst/>
            <a:gdLst>
              <a:gd name="T0" fmla="*/ 11083 w 11308"/>
              <a:gd name="T1" fmla="*/ 2992 h 3443"/>
              <a:gd name="T2" fmla="*/ 10891 w 11308"/>
              <a:gd name="T3" fmla="*/ 2992 h 3443"/>
              <a:gd name="T4" fmla="*/ 11050 w 11308"/>
              <a:gd name="T5" fmla="*/ 3150 h 3443"/>
              <a:gd name="T6" fmla="*/ 9169 w 11308"/>
              <a:gd name="T7" fmla="*/ 3150 h 3443"/>
              <a:gd name="T8" fmla="*/ 10162 w 11308"/>
              <a:gd name="T9" fmla="*/ 1642 h 3443"/>
              <a:gd name="T10" fmla="*/ 8520 w 11308"/>
              <a:gd name="T11" fmla="*/ 0 h 3443"/>
              <a:gd name="T12" fmla="*/ 6878 w 11308"/>
              <a:gd name="T13" fmla="*/ 1642 h 3443"/>
              <a:gd name="T14" fmla="*/ 7871 w 11308"/>
              <a:gd name="T15" fmla="*/ 3150 h 3443"/>
              <a:gd name="T16" fmla="*/ 0 w 11308"/>
              <a:gd name="T17" fmla="*/ 3150 h 3443"/>
              <a:gd name="T18" fmla="*/ 0 w 11308"/>
              <a:gd name="T19" fmla="*/ 3284 h 3443"/>
              <a:gd name="T20" fmla="*/ 11050 w 11308"/>
              <a:gd name="T21" fmla="*/ 3284 h 3443"/>
              <a:gd name="T22" fmla="*/ 10891 w 11308"/>
              <a:gd name="T23" fmla="*/ 3443 h 3443"/>
              <a:gd name="T24" fmla="*/ 11083 w 11308"/>
              <a:gd name="T25" fmla="*/ 3443 h 3443"/>
              <a:gd name="T26" fmla="*/ 11308 w 11308"/>
              <a:gd name="T27" fmla="*/ 3217 h 3443"/>
              <a:gd name="T28" fmla="*/ 11083 w 11308"/>
              <a:gd name="T29" fmla="*/ 2992 h 3443"/>
              <a:gd name="T30" fmla="*/ 7012 w 11308"/>
              <a:gd name="T31" fmla="*/ 1642 h 3443"/>
              <a:gd name="T32" fmla="*/ 8520 w 11308"/>
              <a:gd name="T33" fmla="*/ 134 h 3443"/>
              <a:gd name="T34" fmla="*/ 10029 w 11308"/>
              <a:gd name="T35" fmla="*/ 1642 h 3443"/>
              <a:gd name="T36" fmla="*/ 8520 w 11308"/>
              <a:gd name="T37" fmla="*/ 3150 h 3443"/>
              <a:gd name="T38" fmla="*/ 7012 w 11308"/>
              <a:gd name="T39" fmla="*/ 1642 h 3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1308" h="3443">
                <a:moveTo>
                  <a:pt x="11083" y="2992"/>
                </a:moveTo>
                <a:cubicBezTo>
                  <a:pt x="10891" y="2992"/>
                  <a:pt x="10891" y="2992"/>
                  <a:pt x="10891" y="2992"/>
                </a:cubicBezTo>
                <a:cubicBezTo>
                  <a:pt x="11050" y="3150"/>
                  <a:pt x="11050" y="3150"/>
                  <a:pt x="11050" y="3150"/>
                </a:cubicBezTo>
                <a:cubicBezTo>
                  <a:pt x="9169" y="3150"/>
                  <a:pt x="9169" y="3150"/>
                  <a:pt x="9169" y="3150"/>
                </a:cubicBezTo>
                <a:cubicBezTo>
                  <a:pt x="9753" y="2898"/>
                  <a:pt x="10162" y="2317"/>
                  <a:pt x="10162" y="1642"/>
                </a:cubicBezTo>
                <a:cubicBezTo>
                  <a:pt x="10162" y="737"/>
                  <a:pt x="9426" y="0"/>
                  <a:pt x="8520" y="0"/>
                </a:cubicBezTo>
                <a:cubicBezTo>
                  <a:pt x="7615" y="0"/>
                  <a:pt x="6878" y="737"/>
                  <a:pt x="6878" y="1642"/>
                </a:cubicBezTo>
                <a:cubicBezTo>
                  <a:pt x="6878" y="2317"/>
                  <a:pt x="7288" y="2898"/>
                  <a:pt x="7871" y="3150"/>
                </a:cubicBezTo>
                <a:cubicBezTo>
                  <a:pt x="0" y="3150"/>
                  <a:pt x="0" y="3150"/>
                  <a:pt x="0" y="3150"/>
                </a:cubicBezTo>
                <a:cubicBezTo>
                  <a:pt x="0" y="3284"/>
                  <a:pt x="0" y="3284"/>
                  <a:pt x="0" y="3284"/>
                </a:cubicBezTo>
                <a:cubicBezTo>
                  <a:pt x="11050" y="3284"/>
                  <a:pt x="11050" y="3284"/>
                  <a:pt x="11050" y="3284"/>
                </a:cubicBezTo>
                <a:cubicBezTo>
                  <a:pt x="10891" y="3443"/>
                  <a:pt x="10891" y="3443"/>
                  <a:pt x="10891" y="3443"/>
                </a:cubicBezTo>
                <a:cubicBezTo>
                  <a:pt x="11083" y="3443"/>
                  <a:pt x="11083" y="3443"/>
                  <a:pt x="11083" y="3443"/>
                </a:cubicBezTo>
                <a:cubicBezTo>
                  <a:pt x="11308" y="3217"/>
                  <a:pt x="11308" y="3217"/>
                  <a:pt x="11308" y="3217"/>
                </a:cubicBezTo>
                <a:lnTo>
                  <a:pt x="11083" y="2992"/>
                </a:lnTo>
                <a:close/>
                <a:moveTo>
                  <a:pt x="7012" y="1642"/>
                </a:moveTo>
                <a:cubicBezTo>
                  <a:pt x="7012" y="810"/>
                  <a:pt x="7689" y="134"/>
                  <a:pt x="8520" y="134"/>
                </a:cubicBezTo>
                <a:cubicBezTo>
                  <a:pt x="9352" y="134"/>
                  <a:pt x="10029" y="810"/>
                  <a:pt x="10029" y="1642"/>
                </a:cubicBezTo>
                <a:cubicBezTo>
                  <a:pt x="10029" y="2474"/>
                  <a:pt x="9352" y="3150"/>
                  <a:pt x="8520" y="3150"/>
                </a:cubicBezTo>
                <a:cubicBezTo>
                  <a:pt x="7689" y="3150"/>
                  <a:pt x="7012" y="2474"/>
                  <a:pt x="7012" y="164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26E84DA-A1EC-44A0-9AC0-184DA61929F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7213" y="3348000"/>
            <a:ext cx="3940174" cy="483771"/>
          </a:xfrm>
        </p:spPr>
        <p:txBody>
          <a:bodyPr/>
          <a:lstStyle/>
          <a:p>
            <a:r>
              <a:rPr lang="en-NL"/>
              <a:t>October 202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000176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9ED3ED-31E4-2AB9-F647-48029682F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7DB19-2060-43C3-2FAD-413F678CD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A5818E-6CAC-AC38-070E-BC31108A41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2046286" cy="4208464"/>
          </a:xfrm>
        </p:spPr>
        <p:txBody>
          <a:bodyPr/>
          <a:lstStyle/>
          <a:p>
            <a:pPr lvl="4"/>
            <a:r>
              <a:rPr lang="en-GB">
                <a:solidFill>
                  <a:schemeClr val="accent6"/>
                </a:solidFill>
              </a:rPr>
              <a:t>By introducing Direct Reduced Iron (DRI) technology, processed with green hydrogen, we will make a giant leap towards CO</a:t>
            </a:r>
            <a:r>
              <a:rPr lang="en-GB" baseline="-25000">
                <a:solidFill>
                  <a:schemeClr val="accent6"/>
                </a:solidFill>
              </a:rPr>
              <a:t>2</a:t>
            </a:r>
            <a:r>
              <a:rPr lang="en-GB">
                <a:solidFill>
                  <a:schemeClr val="accent6"/>
                </a:solidFill>
              </a:rPr>
              <a:t>e neutral steelmaking in </a:t>
            </a:r>
            <a:br>
              <a:rPr lang="en-GB">
                <a:solidFill>
                  <a:schemeClr val="accent6"/>
                </a:solidFill>
              </a:rPr>
            </a:br>
            <a:r>
              <a:rPr lang="en-GB">
                <a:solidFill>
                  <a:schemeClr val="accent6"/>
                </a:solidFill>
              </a:rPr>
              <a:t>a clean environment at IJmuiden. </a:t>
            </a:r>
          </a:p>
          <a:p>
            <a:pPr lvl="4"/>
            <a:endParaRPr lang="en-GB">
              <a:solidFill>
                <a:schemeClr val="accent6"/>
              </a:solidFill>
            </a:endParaRPr>
          </a:p>
          <a:p>
            <a:pPr lvl="4"/>
            <a:r>
              <a:rPr lang="en-GB">
                <a:solidFill>
                  <a:schemeClr val="accent6"/>
                </a:solidFill>
              </a:rPr>
              <a:t>This introduction will happen before 2030, resulting in one of the largest CO</a:t>
            </a:r>
            <a:r>
              <a:rPr lang="en-GB" baseline="-25000">
                <a:solidFill>
                  <a:schemeClr val="accent6"/>
                </a:solidFill>
              </a:rPr>
              <a:t>2</a:t>
            </a:r>
            <a:r>
              <a:rPr lang="en-GB">
                <a:solidFill>
                  <a:schemeClr val="accent6"/>
                </a:solidFill>
              </a:rPr>
              <a:t>e reductions in steel making in Europe in a decade.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DFB0ECB0-9E53-58AB-2C6B-D3BF3FDF192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1060280"/>
            <a:ext cx="8586788" cy="3266260"/>
          </a:xfrm>
          <a:custGeom>
            <a:avLst/>
            <a:gdLst>
              <a:gd name="T0" fmla="*/ 9749 w 9949"/>
              <a:gd name="T1" fmla="*/ 3558 h 3784"/>
              <a:gd name="T2" fmla="*/ 9443 w 9949"/>
              <a:gd name="T3" fmla="*/ 3406 h 3784"/>
              <a:gd name="T4" fmla="*/ 8890 w 9949"/>
              <a:gd name="T5" fmla="*/ 3406 h 3784"/>
              <a:gd name="T6" fmla="*/ 8773 w 9949"/>
              <a:gd name="T7" fmla="*/ 3558 h 3784"/>
              <a:gd name="T8" fmla="*/ 8521 w 9949"/>
              <a:gd name="T9" fmla="*/ 3229 h 3784"/>
              <a:gd name="T10" fmla="*/ 8109 w 9949"/>
              <a:gd name="T11" fmla="*/ 3484 h 3784"/>
              <a:gd name="T12" fmla="*/ 7591 w 9949"/>
              <a:gd name="T13" fmla="*/ 3546 h 3784"/>
              <a:gd name="T14" fmla="*/ 7822 w 9949"/>
              <a:gd name="T15" fmla="*/ 2448 h 3784"/>
              <a:gd name="T16" fmla="*/ 7704 w 9949"/>
              <a:gd name="T17" fmla="*/ 1840 h 3784"/>
              <a:gd name="T18" fmla="*/ 7418 w 9949"/>
              <a:gd name="T19" fmla="*/ 1016 h 3784"/>
              <a:gd name="T20" fmla="*/ 7114 w 9949"/>
              <a:gd name="T21" fmla="*/ 1795 h 3784"/>
              <a:gd name="T22" fmla="*/ 6984 w 9949"/>
              <a:gd name="T23" fmla="*/ 2081 h 3784"/>
              <a:gd name="T24" fmla="*/ 7220 w 9949"/>
              <a:gd name="T25" fmla="*/ 3519 h 3784"/>
              <a:gd name="T26" fmla="*/ 6713 w 9949"/>
              <a:gd name="T27" fmla="*/ 3558 h 3784"/>
              <a:gd name="T28" fmla="*/ 6408 w 9949"/>
              <a:gd name="T29" fmla="*/ 2171 h 3784"/>
              <a:gd name="T30" fmla="*/ 6102 w 9949"/>
              <a:gd name="T31" fmla="*/ 3558 h 3784"/>
              <a:gd name="T32" fmla="*/ 6007 w 9949"/>
              <a:gd name="T33" fmla="*/ 2426 h 3784"/>
              <a:gd name="T34" fmla="*/ 5544 w 9949"/>
              <a:gd name="T35" fmla="*/ 3484 h 3784"/>
              <a:gd name="T36" fmla="*/ 5470 w 9949"/>
              <a:gd name="T37" fmla="*/ 3558 h 3784"/>
              <a:gd name="T38" fmla="*/ 4431 w 9949"/>
              <a:gd name="T39" fmla="*/ 1453 h 3784"/>
              <a:gd name="T40" fmla="*/ 4639 w 9949"/>
              <a:gd name="T41" fmla="*/ 1510 h 3784"/>
              <a:gd name="T42" fmla="*/ 5441 w 9949"/>
              <a:gd name="T43" fmla="*/ 1580 h 3784"/>
              <a:gd name="T44" fmla="*/ 4615 w 9949"/>
              <a:gd name="T45" fmla="*/ 1149 h 3784"/>
              <a:gd name="T46" fmla="*/ 4614 w 9949"/>
              <a:gd name="T47" fmla="*/ 737 h 3784"/>
              <a:gd name="T48" fmla="*/ 4341 w 9949"/>
              <a:gd name="T49" fmla="*/ 50 h 3784"/>
              <a:gd name="T50" fmla="*/ 4157 w 9949"/>
              <a:gd name="T51" fmla="*/ 1158 h 3784"/>
              <a:gd name="T52" fmla="*/ 3421 w 9949"/>
              <a:gd name="T53" fmla="*/ 1738 h 3784"/>
              <a:gd name="T54" fmla="*/ 4252 w 9949"/>
              <a:gd name="T55" fmla="*/ 1335 h 3784"/>
              <a:gd name="T56" fmla="*/ 4208 w 9949"/>
              <a:gd name="T57" fmla="*/ 3448 h 3784"/>
              <a:gd name="T58" fmla="*/ 0 w 9949"/>
              <a:gd name="T59" fmla="*/ 3660 h 3784"/>
              <a:gd name="T60" fmla="*/ 4380 w 9949"/>
              <a:gd name="T61" fmla="*/ 2297 h 3784"/>
              <a:gd name="T62" fmla="*/ 5470 w 9949"/>
              <a:gd name="T63" fmla="*/ 3661 h 3784"/>
              <a:gd name="T64" fmla="*/ 5647 w 9949"/>
              <a:gd name="T65" fmla="*/ 3484 h 3784"/>
              <a:gd name="T66" fmla="*/ 5863 w 9949"/>
              <a:gd name="T67" fmla="*/ 2309 h 3784"/>
              <a:gd name="T68" fmla="*/ 6081 w 9949"/>
              <a:gd name="T69" fmla="*/ 3661 h 3784"/>
              <a:gd name="T70" fmla="*/ 6279 w 9949"/>
              <a:gd name="T71" fmla="*/ 2426 h 3784"/>
              <a:gd name="T72" fmla="*/ 6536 w 9949"/>
              <a:gd name="T73" fmla="*/ 2426 h 3784"/>
              <a:gd name="T74" fmla="*/ 7188 w 9949"/>
              <a:gd name="T75" fmla="*/ 3661 h 3784"/>
              <a:gd name="T76" fmla="*/ 7088 w 9949"/>
              <a:gd name="T77" fmla="*/ 2468 h 3784"/>
              <a:gd name="T78" fmla="*/ 7100 w 9949"/>
              <a:gd name="T79" fmla="*/ 2037 h 3784"/>
              <a:gd name="T80" fmla="*/ 7217 w 9949"/>
              <a:gd name="T81" fmla="*/ 1276 h 3784"/>
              <a:gd name="T82" fmla="*/ 7588 w 9949"/>
              <a:gd name="T83" fmla="*/ 1276 h 3784"/>
              <a:gd name="T84" fmla="*/ 7705 w 9949"/>
              <a:gd name="T85" fmla="*/ 2037 h 3784"/>
              <a:gd name="T86" fmla="*/ 7717 w 9949"/>
              <a:gd name="T87" fmla="*/ 2468 h 3784"/>
              <a:gd name="T88" fmla="*/ 7616 w 9949"/>
              <a:gd name="T89" fmla="*/ 3661 h 3784"/>
              <a:gd name="T90" fmla="*/ 8212 w 9949"/>
              <a:gd name="T91" fmla="*/ 3406 h 3784"/>
              <a:gd name="T92" fmla="*/ 8596 w 9949"/>
              <a:gd name="T93" fmla="*/ 3406 h 3784"/>
              <a:gd name="T94" fmla="*/ 8816 w 9949"/>
              <a:gd name="T95" fmla="*/ 3661 h 3784"/>
              <a:gd name="T96" fmla="*/ 9067 w 9949"/>
              <a:gd name="T97" fmla="*/ 3332 h 3784"/>
              <a:gd name="T98" fmla="*/ 9340 w 9949"/>
              <a:gd name="T99" fmla="*/ 3484 h 3784"/>
              <a:gd name="T100" fmla="*/ 9627 w 9949"/>
              <a:gd name="T101" fmla="*/ 3784 h 3784"/>
              <a:gd name="T102" fmla="*/ 9774 w 9949"/>
              <a:gd name="T103" fmla="*/ 3434 h 3784"/>
              <a:gd name="T104" fmla="*/ 4709 w 9949"/>
              <a:gd name="T105" fmla="*/ 1431 h 3784"/>
              <a:gd name="T106" fmla="*/ 3710 w 9949"/>
              <a:gd name="T107" fmla="*/ 1554 h 3784"/>
              <a:gd name="T108" fmla="*/ 3710 w 9949"/>
              <a:gd name="T109" fmla="*/ 1554 h 3784"/>
              <a:gd name="T110" fmla="*/ 4391 w 9949"/>
              <a:gd name="T111" fmla="*/ 920 h 3784"/>
              <a:gd name="T112" fmla="*/ 4421 w 9949"/>
              <a:gd name="T113" fmla="*/ 383 h 3784"/>
              <a:gd name="T114" fmla="*/ 4512 w 9949"/>
              <a:gd name="T115" fmla="*/ 1149 h 37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949" h="3784">
                <a:moveTo>
                  <a:pt x="9774" y="3434"/>
                </a:moveTo>
                <a:cubicBezTo>
                  <a:pt x="9626" y="3435"/>
                  <a:pt x="9626" y="3435"/>
                  <a:pt x="9626" y="3435"/>
                </a:cubicBezTo>
                <a:cubicBezTo>
                  <a:pt x="9749" y="3558"/>
                  <a:pt x="9749" y="3558"/>
                  <a:pt x="9749" y="3558"/>
                </a:cubicBezTo>
                <a:cubicBezTo>
                  <a:pt x="9517" y="3558"/>
                  <a:pt x="9517" y="3558"/>
                  <a:pt x="9517" y="3558"/>
                </a:cubicBezTo>
                <a:cubicBezTo>
                  <a:pt x="9476" y="3558"/>
                  <a:pt x="9443" y="3525"/>
                  <a:pt x="9443" y="3484"/>
                </a:cubicBezTo>
                <a:cubicBezTo>
                  <a:pt x="9443" y="3406"/>
                  <a:pt x="9443" y="3406"/>
                  <a:pt x="9443" y="3406"/>
                </a:cubicBezTo>
                <a:cubicBezTo>
                  <a:pt x="9443" y="3308"/>
                  <a:pt x="9363" y="3229"/>
                  <a:pt x="9265" y="3229"/>
                </a:cubicBezTo>
                <a:cubicBezTo>
                  <a:pt x="9067" y="3229"/>
                  <a:pt x="9067" y="3229"/>
                  <a:pt x="9067" y="3229"/>
                </a:cubicBezTo>
                <a:cubicBezTo>
                  <a:pt x="8969" y="3229"/>
                  <a:pt x="8890" y="3308"/>
                  <a:pt x="8890" y="3406"/>
                </a:cubicBezTo>
                <a:cubicBezTo>
                  <a:pt x="8890" y="3484"/>
                  <a:pt x="8890" y="3484"/>
                  <a:pt x="8890" y="3484"/>
                </a:cubicBezTo>
                <a:cubicBezTo>
                  <a:pt x="8890" y="3525"/>
                  <a:pt x="8856" y="3558"/>
                  <a:pt x="8816" y="3558"/>
                </a:cubicBezTo>
                <a:cubicBezTo>
                  <a:pt x="8773" y="3558"/>
                  <a:pt x="8773" y="3558"/>
                  <a:pt x="8773" y="3558"/>
                </a:cubicBezTo>
                <a:cubicBezTo>
                  <a:pt x="8732" y="3558"/>
                  <a:pt x="8699" y="3525"/>
                  <a:pt x="8699" y="3484"/>
                </a:cubicBezTo>
                <a:cubicBezTo>
                  <a:pt x="8699" y="3406"/>
                  <a:pt x="8699" y="3406"/>
                  <a:pt x="8699" y="3406"/>
                </a:cubicBezTo>
                <a:cubicBezTo>
                  <a:pt x="8699" y="3308"/>
                  <a:pt x="8619" y="3229"/>
                  <a:pt x="8521" y="3229"/>
                </a:cubicBezTo>
                <a:cubicBezTo>
                  <a:pt x="8286" y="3229"/>
                  <a:pt x="8286" y="3229"/>
                  <a:pt x="8286" y="3229"/>
                </a:cubicBezTo>
                <a:cubicBezTo>
                  <a:pt x="8188" y="3229"/>
                  <a:pt x="8109" y="3308"/>
                  <a:pt x="8109" y="3406"/>
                </a:cubicBezTo>
                <a:cubicBezTo>
                  <a:pt x="8109" y="3484"/>
                  <a:pt x="8109" y="3484"/>
                  <a:pt x="8109" y="3484"/>
                </a:cubicBezTo>
                <a:cubicBezTo>
                  <a:pt x="8109" y="3525"/>
                  <a:pt x="8075" y="3558"/>
                  <a:pt x="8035" y="3558"/>
                </a:cubicBezTo>
                <a:cubicBezTo>
                  <a:pt x="7616" y="3558"/>
                  <a:pt x="7616" y="3558"/>
                  <a:pt x="7616" y="3558"/>
                </a:cubicBezTo>
                <a:cubicBezTo>
                  <a:pt x="7603" y="3558"/>
                  <a:pt x="7595" y="3551"/>
                  <a:pt x="7591" y="3546"/>
                </a:cubicBezTo>
                <a:cubicBezTo>
                  <a:pt x="7588" y="3542"/>
                  <a:pt x="7582" y="3532"/>
                  <a:pt x="7585" y="3519"/>
                </a:cubicBezTo>
                <a:cubicBezTo>
                  <a:pt x="7817" y="2491"/>
                  <a:pt x="7817" y="2491"/>
                  <a:pt x="7817" y="2491"/>
                </a:cubicBezTo>
                <a:cubicBezTo>
                  <a:pt x="7820" y="2477"/>
                  <a:pt x="7822" y="2462"/>
                  <a:pt x="7822" y="2448"/>
                </a:cubicBezTo>
                <a:cubicBezTo>
                  <a:pt x="7821" y="2081"/>
                  <a:pt x="7821" y="2081"/>
                  <a:pt x="7821" y="2081"/>
                </a:cubicBezTo>
                <a:cubicBezTo>
                  <a:pt x="7821" y="2046"/>
                  <a:pt x="7811" y="2012"/>
                  <a:pt x="7792" y="1982"/>
                </a:cubicBezTo>
                <a:cubicBezTo>
                  <a:pt x="7704" y="1840"/>
                  <a:pt x="7704" y="1840"/>
                  <a:pt x="7704" y="1840"/>
                </a:cubicBezTo>
                <a:cubicBezTo>
                  <a:pt x="7695" y="1827"/>
                  <a:pt x="7691" y="1811"/>
                  <a:pt x="7691" y="1795"/>
                </a:cubicBezTo>
                <a:cubicBezTo>
                  <a:pt x="7691" y="1276"/>
                  <a:pt x="7691" y="1276"/>
                  <a:pt x="7691" y="1276"/>
                </a:cubicBezTo>
                <a:cubicBezTo>
                  <a:pt x="7691" y="1108"/>
                  <a:pt x="7594" y="1016"/>
                  <a:pt x="7418" y="1016"/>
                </a:cubicBezTo>
                <a:cubicBezTo>
                  <a:pt x="7386" y="1016"/>
                  <a:pt x="7386" y="1016"/>
                  <a:pt x="7386" y="1016"/>
                </a:cubicBezTo>
                <a:cubicBezTo>
                  <a:pt x="7211" y="1016"/>
                  <a:pt x="7114" y="1108"/>
                  <a:pt x="7114" y="1276"/>
                </a:cubicBezTo>
                <a:cubicBezTo>
                  <a:pt x="7114" y="1795"/>
                  <a:pt x="7114" y="1795"/>
                  <a:pt x="7114" y="1795"/>
                </a:cubicBezTo>
                <a:cubicBezTo>
                  <a:pt x="7114" y="1811"/>
                  <a:pt x="7109" y="1827"/>
                  <a:pt x="7101" y="1840"/>
                </a:cubicBezTo>
                <a:cubicBezTo>
                  <a:pt x="7012" y="1982"/>
                  <a:pt x="7012" y="1982"/>
                  <a:pt x="7012" y="1982"/>
                </a:cubicBezTo>
                <a:cubicBezTo>
                  <a:pt x="6994" y="2012"/>
                  <a:pt x="6984" y="2046"/>
                  <a:pt x="6984" y="2081"/>
                </a:cubicBezTo>
                <a:cubicBezTo>
                  <a:pt x="6983" y="2448"/>
                  <a:pt x="6983" y="2448"/>
                  <a:pt x="6983" y="2448"/>
                </a:cubicBezTo>
                <a:cubicBezTo>
                  <a:pt x="6983" y="2462"/>
                  <a:pt x="6984" y="2477"/>
                  <a:pt x="6987" y="2491"/>
                </a:cubicBezTo>
                <a:cubicBezTo>
                  <a:pt x="7220" y="3519"/>
                  <a:pt x="7220" y="3519"/>
                  <a:pt x="7220" y="3519"/>
                </a:cubicBezTo>
                <a:cubicBezTo>
                  <a:pt x="7223" y="3532"/>
                  <a:pt x="7217" y="3542"/>
                  <a:pt x="7213" y="3546"/>
                </a:cubicBezTo>
                <a:cubicBezTo>
                  <a:pt x="7210" y="3551"/>
                  <a:pt x="7202" y="3558"/>
                  <a:pt x="7188" y="3558"/>
                </a:cubicBezTo>
                <a:cubicBezTo>
                  <a:pt x="6713" y="3558"/>
                  <a:pt x="6713" y="3558"/>
                  <a:pt x="6713" y="3558"/>
                </a:cubicBezTo>
                <a:cubicBezTo>
                  <a:pt x="6673" y="3558"/>
                  <a:pt x="6639" y="3525"/>
                  <a:pt x="6639" y="3484"/>
                </a:cubicBezTo>
                <a:cubicBezTo>
                  <a:pt x="6639" y="2426"/>
                  <a:pt x="6639" y="2426"/>
                  <a:pt x="6639" y="2426"/>
                </a:cubicBezTo>
                <a:cubicBezTo>
                  <a:pt x="6639" y="2258"/>
                  <a:pt x="6523" y="2171"/>
                  <a:pt x="6408" y="2171"/>
                </a:cubicBezTo>
                <a:cubicBezTo>
                  <a:pt x="6293" y="2171"/>
                  <a:pt x="6176" y="2258"/>
                  <a:pt x="6176" y="2426"/>
                </a:cubicBezTo>
                <a:cubicBezTo>
                  <a:pt x="6176" y="3484"/>
                  <a:pt x="6176" y="3484"/>
                  <a:pt x="6176" y="3484"/>
                </a:cubicBezTo>
                <a:cubicBezTo>
                  <a:pt x="6176" y="3525"/>
                  <a:pt x="6143" y="3558"/>
                  <a:pt x="6102" y="3558"/>
                </a:cubicBezTo>
                <a:cubicBezTo>
                  <a:pt x="6081" y="3558"/>
                  <a:pt x="6081" y="3558"/>
                  <a:pt x="6081" y="3558"/>
                </a:cubicBezTo>
                <a:cubicBezTo>
                  <a:pt x="6040" y="3558"/>
                  <a:pt x="6007" y="3525"/>
                  <a:pt x="6007" y="3484"/>
                </a:cubicBezTo>
                <a:cubicBezTo>
                  <a:pt x="6007" y="2426"/>
                  <a:pt x="6007" y="2426"/>
                  <a:pt x="6007" y="2426"/>
                </a:cubicBezTo>
                <a:cubicBezTo>
                  <a:pt x="6007" y="2258"/>
                  <a:pt x="5890" y="2171"/>
                  <a:pt x="5775" y="2171"/>
                </a:cubicBezTo>
                <a:cubicBezTo>
                  <a:pt x="5660" y="2171"/>
                  <a:pt x="5544" y="2258"/>
                  <a:pt x="5544" y="2426"/>
                </a:cubicBezTo>
                <a:cubicBezTo>
                  <a:pt x="5544" y="3484"/>
                  <a:pt x="5544" y="3484"/>
                  <a:pt x="5544" y="3484"/>
                </a:cubicBezTo>
                <a:cubicBezTo>
                  <a:pt x="5544" y="3504"/>
                  <a:pt x="5536" y="3522"/>
                  <a:pt x="5522" y="3536"/>
                </a:cubicBezTo>
                <a:cubicBezTo>
                  <a:pt x="5508" y="3550"/>
                  <a:pt x="5490" y="3558"/>
                  <a:pt x="5470" y="3558"/>
                </a:cubicBezTo>
                <a:cubicBezTo>
                  <a:pt x="5470" y="3558"/>
                  <a:pt x="5470" y="3558"/>
                  <a:pt x="5470" y="3558"/>
                </a:cubicBezTo>
                <a:cubicBezTo>
                  <a:pt x="4671" y="3557"/>
                  <a:pt x="4671" y="3557"/>
                  <a:pt x="4671" y="3557"/>
                </a:cubicBezTo>
                <a:cubicBezTo>
                  <a:pt x="4610" y="3557"/>
                  <a:pt x="4559" y="3509"/>
                  <a:pt x="4555" y="3448"/>
                </a:cubicBezTo>
                <a:cubicBezTo>
                  <a:pt x="4431" y="1453"/>
                  <a:pt x="4431" y="1453"/>
                  <a:pt x="4431" y="1453"/>
                </a:cubicBezTo>
                <a:cubicBezTo>
                  <a:pt x="4436" y="1373"/>
                  <a:pt x="4436" y="1373"/>
                  <a:pt x="4436" y="1373"/>
                </a:cubicBezTo>
                <a:cubicBezTo>
                  <a:pt x="4464" y="1366"/>
                  <a:pt x="4491" y="1355"/>
                  <a:pt x="4514" y="1339"/>
                </a:cubicBezTo>
                <a:cubicBezTo>
                  <a:pt x="4639" y="1510"/>
                  <a:pt x="4639" y="1510"/>
                  <a:pt x="4639" y="1510"/>
                </a:cubicBezTo>
                <a:cubicBezTo>
                  <a:pt x="4648" y="1522"/>
                  <a:pt x="4661" y="1529"/>
                  <a:pt x="4675" y="1531"/>
                </a:cubicBezTo>
                <a:cubicBezTo>
                  <a:pt x="5386" y="1617"/>
                  <a:pt x="5386" y="1617"/>
                  <a:pt x="5386" y="1617"/>
                </a:cubicBezTo>
                <a:cubicBezTo>
                  <a:pt x="5411" y="1620"/>
                  <a:pt x="5435" y="1604"/>
                  <a:pt x="5441" y="1580"/>
                </a:cubicBezTo>
                <a:cubicBezTo>
                  <a:pt x="5448" y="1555"/>
                  <a:pt x="5437" y="1530"/>
                  <a:pt x="5414" y="1519"/>
                </a:cubicBezTo>
                <a:cubicBezTo>
                  <a:pt x="4615" y="1149"/>
                  <a:pt x="4615" y="1149"/>
                  <a:pt x="4615" y="1149"/>
                </a:cubicBezTo>
                <a:cubicBezTo>
                  <a:pt x="4615" y="1149"/>
                  <a:pt x="4615" y="1149"/>
                  <a:pt x="4615" y="1149"/>
                </a:cubicBezTo>
                <a:cubicBezTo>
                  <a:pt x="4615" y="1062"/>
                  <a:pt x="4567" y="987"/>
                  <a:pt x="4496" y="948"/>
                </a:cubicBezTo>
                <a:cubicBezTo>
                  <a:pt x="4607" y="777"/>
                  <a:pt x="4607" y="777"/>
                  <a:pt x="4607" y="777"/>
                </a:cubicBezTo>
                <a:cubicBezTo>
                  <a:pt x="4615" y="765"/>
                  <a:pt x="4617" y="751"/>
                  <a:pt x="4614" y="737"/>
                </a:cubicBezTo>
                <a:cubicBezTo>
                  <a:pt x="4443" y="42"/>
                  <a:pt x="4443" y="42"/>
                  <a:pt x="4443" y="42"/>
                </a:cubicBezTo>
                <a:cubicBezTo>
                  <a:pt x="4437" y="17"/>
                  <a:pt x="4413" y="0"/>
                  <a:pt x="4388" y="3"/>
                </a:cubicBezTo>
                <a:cubicBezTo>
                  <a:pt x="4363" y="5"/>
                  <a:pt x="4343" y="25"/>
                  <a:pt x="4341" y="50"/>
                </a:cubicBezTo>
                <a:cubicBezTo>
                  <a:pt x="4277" y="947"/>
                  <a:pt x="4277" y="947"/>
                  <a:pt x="4277" y="947"/>
                </a:cubicBezTo>
                <a:cubicBezTo>
                  <a:pt x="4205" y="986"/>
                  <a:pt x="4157" y="1062"/>
                  <a:pt x="4157" y="1149"/>
                </a:cubicBezTo>
                <a:cubicBezTo>
                  <a:pt x="4157" y="1152"/>
                  <a:pt x="4157" y="1155"/>
                  <a:pt x="4157" y="1158"/>
                </a:cubicBezTo>
                <a:cubicBezTo>
                  <a:pt x="3918" y="1170"/>
                  <a:pt x="3918" y="1170"/>
                  <a:pt x="3918" y="1170"/>
                </a:cubicBezTo>
                <a:cubicBezTo>
                  <a:pt x="3903" y="1171"/>
                  <a:pt x="3890" y="1178"/>
                  <a:pt x="3881" y="1189"/>
                </a:cubicBezTo>
                <a:cubicBezTo>
                  <a:pt x="3421" y="1738"/>
                  <a:pt x="3421" y="1738"/>
                  <a:pt x="3421" y="1738"/>
                </a:cubicBezTo>
                <a:cubicBezTo>
                  <a:pt x="3405" y="1757"/>
                  <a:pt x="3405" y="1785"/>
                  <a:pt x="3422" y="1805"/>
                </a:cubicBezTo>
                <a:cubicBezTo>
                  <a:pt x="3438" y="1824"/>
                  <a:pt x="3466" y="1828"/>
                  <a:pt x="3488" y="1814"/>
                </a:cubicBezTo>
                <a:cubicBezTo>
                  <a:pt x="4252" y="1335"/>
                  <a:pt x="4252" y="1335"/>
                  <a:pt x="4252" y="1335"/>
                </a:cubicBezTo>
                <a:cubicBezTo>
                  <a:pt x="4273" y="1350"/>
                  <a:pt x="4297" y="1362"/>
                  <a:pt x="4322" y="1369"/>
                </a:cubicBezTo>
                <a:cubicBezTo>
                  <a:pt x="4328" y="1453"/>
                  <a:pt x="4328" y="1453"/>
                  <a:pt x="4328" y="1453"/>
                </a:cubicBezTo>
                <a:cubicBezTo>
                  <a:pt x="4208" y="3448"/>
                  <a:pt x="4208" y="3448"/>
                  <a:pt x="4208" y="3448"/>
                </a:cubicBezTo>
                <a:cubicBezTo>
                  <a:pt x="4204" y="3509"/>
                  <a:pt x="4153" y="3557"/>
                  <a:pt x="4092" y="3557"/>
                </a:cubicBezTo>
                <a:cubicBezTo>
                  <a:pt x="0" y="3557"/>
                  <a:pt x="0" y="3557"/>
                  <a:pt x="0" y="3557"/>
                </a:cubicBezTo>
                <a:cubicBezTo>
                  <a:pt x="0" y="3660"/>
                  <a:pt x="0" y="3660"/>
                  <a:pt x="0" y="3660"/>
                </a:cubicBezTo>
                <a:cubicBezTo>
                  <a:pt x="4092" y="3660"/>
                  <a:pt x="4092" y="3660"/>
                  <a:pt x="4092" y="3660"/>
                </a:cubicBezTo>
                <a:cubicBezTo>
                  <a:pt x="4208" y="3660"/>
                  <a:pt x="4304" y="3570"/>
                  <a:pt x="4311" y="3454"/>
                </a:cubicBezTo>
                <a:cubicBezTo>
                  <a:pt x="4380" y="2297"/>
                  <a:pt x="4380" y="2297"/>
                  <a:pt x="4380" y="2297"/>
                </a:cubicBezTo>
                <a:cubicBezTo>
                  <a:pt x="4452" y="3455"/>
                  <a:pt x="4452" y="3455"/>
                  <a:pt x="4452" y="3455"/>
                </a:cubicBezTo>
                <a:cubicBezTo>
                  <a:pt x="4459" y="3570"/>
                  <a:pt x="4555" y="3660"/>
                  <a:pt x="4671" y="3660"/>
                </a:cubicBezTo>
                <a:cubicBezTo>
                  <a:pt x="5470" y="3661"/>
                  <a:pt x="5470" y="3661"/>
                  <a:pt x="5470" y="3661"/>
                </a:cubicBezTo>
                <a:cubicBezTo>
                  <a:pt x="5470" y="3661"/>
                  <a:pt x="5470" y="3661"/>
                  <a:pt x="5470" y="3661"/>
                </a:cubicBezTo>
                <a:cubicBezTo>
                  <a:pt x="5517" y="3661"/>
                  <a:pt x="5561" y="3643"/>
                  <a:pt x="5595" y="3609"/>
                </a:cubicBezTo>
                <a:cubicBezTo>
                  <a:pt x="5628" y="3576"/>
                  <a:pt x="5647" y="3531"/>
                  <a:pt x="5647" y="3484"/>
                </a:cubicBezTo>
                <a:cubicBezTo>
                  <a:pt x="5647" y="2426"/>
                  <a:pt x="5647" y="2426"/>
                  <a:pt x="5647" y="2426"/>
                </a:cubicBezTo>
                <a:cubicBezTo>
                  <a:pt x="5647" y="2321"/>
                  <a:pt x="5711" y="2274"/>
                  <a:pt x="5775" y="2274"/>
                </a:cubicBezTo>
                <a:cubicBezTo>
                  <a:pt x="5809" y="2274"/>
                  <a:pt x="5840" y="2286"/>
                  <a:pt x="5863" y="2309"/>
                </a:cubicBezTo>
                <a:cubicBezTo>
                  <a:pt x="5890" y="2337"/>
                  <a:pt x="5904" y="2377"/>
                  <a:pt x="5904" y="2426"/>
                </a:cubicBezTo>
                <a:cubicBezTo>
                  <a:pt x="5904" y="3484"/>
                  <a:pt x="5904" y="3484"/>
                  <a:pt x="5904" y="3484"/>
                </a:cubicBezTo>
                <a:cubicBezTo>
                  <a:pt x="5904" y="3582"/>
                  <a:pt x="5983" y="3661"/>
                  <a:pt x="6081" y="3661"/>
                </a:cubicBezTo>
                <a:cubicBezTo>
                  <a:pt x="6102" y="3661"/>
                  <a:pt x="6102" y="3661"/>
                  <a:pt x="6102" y="3661"/>
                </a:cubicBezTo>
                <a:cubicBezTo>
                  <a:pt x="6200" y="3661"/>
                  <a:pt x="6279" y="3582"/>
                  <a:pt x="6279" y="3484"/>
                </a:cubicBezTo>
                <a:cubicBezTo>
                  <a:pt x="6279" y="2426"/>
                  <a:pt x="6279" y="2426"/>
                  <a:pt x="6279" y="2426"/>
                </a:cubicBezTo>
                <a:cubicBezTo>
                  <a:pt x="6279" y="2321"/>
                  <a:pt x="6344" y="2274"/>
                  <a:pt x="6408" y="2274"/>
                </a:cubicBezTo>
                <a:cubicBezTo>
                  <a:pt x="6441" y="2274"/>
                  <a:pt x="6472" y="2286"/>
                  <a:pt x="6495" y="2309"/>
                </a:cubicBezTo>
                <a:cubicBezTo>
                  <a:pt x="6522" y="2337"/>
                  <a:pt x="6536" y="2377"/>
                  <a:pt x="6536" y="2426"/>
                </a:cubicBezTo>
                <a:cubicBezTo>
                  <a:pt x="6536" y="3484"/>
                  <a:pt x="6536" y="3484"/>
                  <a:pt x="6536" y="3484"/>
                </a:cubicBezTo>
                <a:cubicBezTo>
                  <a:pt x="6536" y="3582"/>
                  <a:pt x="6616" y="3661"/>
                  <a:pt x="6713" y="3661"/>
                </a:cubicBezTo>
                <a:cubicBezTo>
                  <a:pt x="7188" y="3661"/>
                  <a:pt x="7188" y="3661"/>
                  <a:pt x="7188" y="3661"/>
                </a:cubicBezTo>
                <a:cubicBezTo>
                  <a:pt x="7230" y="3661"/>
                  <a:pt x="7268" y="3643"/>
                  <a:pt x="7294" y="3610"/>
                </a:cubicBezTo>
                <a:cubicBezTo>
                  <a:pt x="7320" y="3578"/>
                  <a:pt x="7329" y="3536"/>
                  <a:pt x="7320" y="3496"/>
                </a:cubicBezTo>
                <a:cubicBezTo>
                  <a:pt x="7088" y="2468"/>
                  <a:pt x="7088" y="2468"/>
                  <a:pt x="7088" y="2468"/>
                </a:cubicBezTo>
                <a:cubicBezTo>
                  <a:pt x="7086" y="2461"/>
                  <a:pt x="7086" y="2455"/>
                  <a:pt x="7086" y="2448"/>
                </a:cubicBezTo>
                <a:cubicBezTo>
                  <a:pt x="7087" y="2081"/>
                  <a:pt x="7087" y="2081"/>
                  <a:pt x="7087" y="2081"/>
                </a:cubicBezTo>
                <a:cubicBezTo>
                  <a:pt x="7087" y="2066"/>
                  <a:pt x="7091" y="2050"/>
                  <a:pt x="7100" y="2037"/>
                </a:cubicBezTo>
                <a:cubicBezTo>
                  <a:pt x="7188" y="1895"/>
                  <a:pt x="7188" y="1895"/>
                  <a:pt x="7188" y="1895"/>
                </a:cubicBezTo>
                <a:cubicBezTo>
                  <a:pt x="7207" y="1865"/>
                  <a:pt x="7217" y="1831"/>
                  <a:pt x="7217" y="1795"/>
                </a:cubicBezTo>
                <a:cubicBezTo>
                  <a:pt x="7217" y="1276"/>
                  <a:pt x="7217" y="1276"/>
                  <a:pt x="7217" y="1276"/>
                </a:cubicBezTo>
                <a:cubicBezTo>
                  <a:pt x="7217" y="1167"/>
                  <a:pt x="7269" y="1119"/>
                  <a:pt x="7386" y="1119"/>
                </a:cubicBezTo>
                <a:cubicBezTo>
                  <a:pt x="7418" y="1119"/>
                  <a:pt x="7418" y="1119"/>
                  <a:pt x="7418" y="1119"/>
                </a:cubicBezTo>
                <a:cubicBezTo>
                  <a:pt x="7535" y="1119"/>
                  <a:pt x="7588" y="1167"/>
                  <a:pt x="7588" y="1276"/>
                </a:cubicBezTo>
                <a:cubicBezTo>
                  <a:pt x="7588" y="1795"/>
                  <a:pt x="7588" y="1795"/>
                  <a:pt x="7588" y="1795"/>
                </a:cubicBezTo>
                <a:cubicBezTo>
                  <a:pt x="7588" y="1831"/>
                  <a:pt x="7598" y="1865"/>
                  <a:pt x="7616" y="1895"/>
                </a:cubicBezTo>
                <a:cubicBezTo>
                  <a:pt x="7705" y="2037"/>
                  <a:pt x="7705" y="2037"/>
                  <a:pt x="7705" y="2037"/>
                </a:cubicBezTo>
                <a:cubicBezTo>
                  <a:pt x="7713" y="2050"/>
                  <a:pt x="7718" y="2066"/>
                  <a:pt x="7718" y="2081"/>
                </a:cubicBezTo>
                <a:cubicBezTo>
                  <a:pt x="7719" y="2448"/>
                  <a:pt x="7719" y="2448"/>
                  <a:pt x="7719" y="2448"/>
                </a:cubicBezTo>
                <a:cubicBezTo>
                  <a:pt x="7719" y="2455"/>
                  <a:pt x="7718" y="2461"/>
                  <a:pt x="7717" y="2468"/>
                </a:cubicBezTo>
                <a:cubicBezTo>
                  <a:pt x="7484" y="3496"/>
                  <a:pt x="7484" y="3496"/>
                  <a:pt x="7484" y="3496"/>
                </a:cubicBezTo>
                <a:cubicBezTo>
                  <a:pt x="7475" y="3536"/>
                  <a:pt x="7485" y="3578"/>
                  <a:pt x="7511" y="3610"/>
                </a:cubicBezTo>
                <a:cubicBezTo>
                  <a:pt x="7537" y="3643"/>
                  <a:pt x="7575" y="3661"/>
                  <a:pt x="7616" y="3661"/>
                </a:cubicBezTo>
                <a:cubicBezTo>
                  <a:pt x="8035" y="3661"/>
                  <a:pt x="8035" y="3661"/>
                  <a:pt x="8035" y="3661"/>
                </a:cubicBezTo>
                <a:cubicBezTo>
                  <a:pt x="8132" y="3661"/>
                  <a:pt x="8212" y="3582"/>
                  <a:pt x="8212" y="3484"/>
                </a:cubicBezTo>
                <a:cubicBezTo>
                  <a:pt x="8212" y="3406"/>
                  <a:pt x="8212" y="3406"/>
                  <a:pt x="8212" y="3406"/>
                </a:cubicBezTo>
                <a:cubicBezTo>
                  <a:pt x="8212" y="3365"/>
                  <a:pt x="8245" y="3332"/>
                  <a:pt x="8286" y="3332"/>
                </a:cubicBezTo>
                <a:cubicBezTo>
                  <a:pt x="8521" y="3332"/>
                  <a:pt x="8521" y="3332"/>
                  <a:pt x="8521" y="3332"/>
                </a:cubicBezTo>
                <a:cubicBezTo>
                  <a:pt x="8562" y="3332"/>
                  <a:pt x="8596" y="3365"/>
                  <a:pt x="8596" y="3406"/>
                </a:cubicBezTo>
                <a:cubicBezTo>
                  <a:pt x="8596" y="3484"/>
                  <a:pt x="8596" y="3484"/>
                  <a:pt x="8596" y="3484"/>
                </a:cubicBezTo>
                <a:cubicBezTo>
                  <a:pt x="8596" y="3582"/>
                  <a:pt x="8675" y="3661"/>
                  <a:pt x="8773" y="3661"/>
                </a:cubicBezTo>
                <a:cubicBezTo>
                  <a:pt x="8816" y="3661"/>
                  <a:pt x="8816" y="3661"/>
                  <a:pt x="8816" y="3661"/>
                </a:cubicBezTo>
                <a:cubicBezTo>
                  <a:pt x="8913" y="3661"/>
                  <a:pt x="8993" y="3582"/>
                  <a:pt x="8993" y="3484"/>
                </a:cubicBezTo>
                <a:cubicBezTo>
                  <a:pt x="8993" y="3406"/>
                  <a:pt x="8993" y="3406"/>
                  <a:pt x="8993" y="3406"/>
                </a:cubicBezTo>
                <a:cubicBezTo>
                  <a:pt x="8993" y="3365"/>
                  <a:pt x="9026" y="3332"/>
                  <a:pt x="9067" y="3332"/>
                </a:cubicBezTo>
                <a:cubicBezTo>
                  <a:pt x="9265" y="3332"/>
                  <a:pt x="9265" y="3332"/>
                  <a:pt x="9265" y="3332"/>
                </a:cubicBezTo>
                <a:cubicBezTo>
                  <a:pt x="9306" y="3332"/>
                  <a:pt x="9340" y="3365"/>
                  <a:pt x="9340" y="3406"/>
                </a:cubicBezTo>
                <a:cubicBezTo>
                  <a:pt x="9340" y="3484"/>
                  <a:pt x="9340" y="3484"/>
                  <a:pt x="9340" y="3484"/>
                </a:cubicBezTo>
                <a:cubicBezTo>
                  <a:pt x="9340" y="3582"/>
                  <a:pt x="9419" y="3661"/>
                  <a:pt x="9517" y="3661"/>
                </a:cubicBezTo>
                <a:cubicBezTo>
                  <a:pt x="9749" y="3661"/>
                  <a:pt x="9749" y="3661"/>
                  <a:pt x="9749" y="3661"/>
                </a:cubicBezTo>
                <a:cubicBezTo>
                  <a:pt x="9627" y="3784"/>
                  <a:pt x="9627" y="3784"/>
                  <a:pt x="9627" y="3784"/>
                </a:cubicBezTo>
                <a:cubicBezTo>
                  <a:pt x="9775" y="3784"/>
                  <a:pt x="9775" y="3784"/>
                  <a:pt x="9775" y="3784"/>
                </a:cubicBezTo>
                <a:cubicBezTo>
                  <a:pt x="9949" y="3609"/>
                  <a:pt x="9949" y="3609"/>
                  <a:pt x="9949" y="3609"/>
                </a:cubicBezTo>
                <a:lnTo>
                  <a:pt x="9774" y="3434"/>
                </a:lnTo>
                <a:close/>
                <a:moveTo>
                  <a:pt x="4591" y="1252"/>
                </a:moveTo>
                <a:cubicBezTo>
                  <a:pt x="5074" y="1475"/>
                  <a:pt x="5074" y="1475"/>
                  <a:pt x="5074" y="1475"/>
                </a:cubicBezTo>
                <a:cubicBezTo>
                  <a:pt x="4709" y="1431"/>
                  <a:pt x="4709" y="1431"/>
                  <a:pt x="4709" y="1431"/>
                </a:cubicBezTo>
                <a:cubicBezTo>
                  <a:pt x="4586" y="1262"/>
                  <a:pt x="4586" y="1262"/>
                  <a:pt x="4586" y="1262"/>
                </a:cubicBezTo>
                <a:cubicBezTo>
                  <a:pt x="4587" y="1258"/>
                  <a:pt x="4589" y="1255"/>
                  <a:pt x="4591" y="1252"/>
                </a:cubicBezTo>
                <a:close/>
                <a:moveTo>
                  <a:pt x="3710" y="1554"/>
                </a:moveTo>
                <a:cubicBezTo>
                  <a:pt x="3945" y="1272"/>
                  <a:pt x="3945" y="1272"/>
                  <a:pt x="3945" y="1272"/>
                </a:cubicBezTo>
                <a:cubicBezTo>
                  <a:pt x="4178" y="1260"/>
                  <a:pt x="4178" y="1260"/>
                  <a:pt x="4178" y="1260"/>
                </a:cubicBezTo>
                <a:lnTo>
                  <a:pt x="3710" y="1554"/>
                </a:lnTo>
                <a:close/>
                <a:moveTo>
                  <a:pt x="4421" y="383"/>
                </a:moveTo>
                <a:cubicBezTo>
                  <a:pt x="4508" y="740"/>
                  <a:pt x="4508" y="740"/>
                  <a:pt x="4508" y="740"/>
                </a:cubicBezTo>
                <a:cubicBezTo>
                  <a:pt x="4391" y="920"/>
                  <a:pt x="4391" y="920"/>
                  <a:pt x="4391" y="920"/>
                </a:cubicBezTo>
                <a:cubicBezTo>
                  <a:pt x="4389" y="920"/>
                  <a:pt x="4388" y="920"/>
                  <a:pt x="4386" y="920"/>
                </a:cubicBezTo>
                <a:cubicBezTo>
                  <a:pt x="4385" y="920"/>
                  <a:pt x="4383" y="920"/>
                  <a:pt x="4382" y="920"/>
                </a:cubicBezTo>
                <a:lnTo>
                  <a:pt x="4421" y="383"/>
                </a:lnTo>
                <a:close/>
                <a:moveTo>
                  <a:pt x="4260" y="1149"/>
                </a:moveTo>
                <a:cubicBezTo>
                  <a:pt x="4260" y="1079"/>
                  <a:pt x="4316" y="1023"/>
                  <a:pt x="4386" y="1023"/>
                </a:cubicBezTo>
                <a:cubicBezTo>
                  <a:pt x="4456" y="1023"/>
                  <a:pt x="4512" y="1079"/>
                  <a:pt x="4512" y="1149"/>
                </a:cubicBezTo>
                <a:cubicBezTo>
                  <a:pt x="4512" y="1219"/>
                  <a:pt x="4456" y="1275"/>
                  <a:pt x="4386" y="1275"/>
                </a:cubicBezTo>
                <a:cubicBezTo>
                  <a:pt x="4316" y="1275"/>
                  <a:pt x="4260" y="1219"/>
                  <a:pt x="4260" y="114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8902182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C9ED3ED-31E4-2AB9-F647-48029682FC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AD7DB19-2060-43C3-2FAD-413F678CD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FA5818E-6CAC-AC38-070E-BC31108A41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4"/>
            <a:r>
              <a:rPr lang="en-GB"/>
              <a:t>We are already laying out the infrastructure for a </a:t>
            </a:r>
            <a:br>
              <a:rPr lang="en-GB"/>
            </a:br>
            <a:r>
              <a:rPr lang="en-GB"/>
              <a:t>direct connection to the </a:t>
            </a:r>
            <a:r>
              <a:rPr lang="en-GB" err="1"/>
              <a:t>TenneT</a:t>
            </a:r>
            <a:r>
              <a:rPr lang="en-GB"/>
              <a:t> offshore wind farm, </a:t>
            </a:r>
            <a:br>
              <a:rPr lang="en-GB"/>
            </a:br>
            <a:r>
              <a:rPr lang="en-GB"/>
              <a:t>which will enable direct access to green energy </a:t>
            </a:r>
            <a:br>
              <a:rPr lang="en-GB"/>
            </a:br>
            <a:r>
              <a:rPr lang="en-GB"/>
              <a:t>required to produce hydrogen on site</a:t>
            </a:r>
          </a:p>
        </p:txBody>
      </p:sp>
    </p:spTree>
    <p:extLst>
      <p:ext uri="{BB962C8B-B14F-4D97-AF65-F5344CB8AC3E}">
        <p14:creationId xmlns:p14="http://schemas.microsoft.com/office/powerpoint/2010/main" val="2647785738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E2130-1E09-E02C-9A5D-C835EA2F1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>
                <a:solidFill>
                  <a:schemeClr val="bg1"/>
                </a:solidFill>
              </a:rPr>
              <a:t>Accelerating </a:t>
            </a:r>
            <a:br>
              <a:rPr lang="en-GB">
                <a:solidFill>
                  <a:schemeClr val="bg1"/>
                </a:solidFill>
              </a:rPr>
            </a:br>
            <a:r>
              <a:rPr lang="en-GB">
                <a:solidFill>
                  <a:schemeClr val="bg1"/>
                </a:solidFill>
              </a:rPr>
              <a:t>chang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EFAE97-119E-8FCD-FE9A-09DA4AFDF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0CA3FA-C1C0-D745-D27F-775F37C5C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reeform 5">
            <a:extLst>
              <a:ext uri="{FF2B5EF4-FFF2-40B4-BE49-F238E27FC236}">
                <a16:creationId xmlns:a16="http://schemas.microsoft.com/office/drawing/2014/main" id="{42E51CA7-F2CD-378F-1580-1BB64809465D}"/>
              </a:ext>
            </a:extLst>
          </p:cNvPr>
          <p:cNvSpPr>
            <a:spLocks noEditPoints="1"/>
          </p:cNvSpPr>
          <p:nvPr/>
        </p:nvSpPr>
        <p:spPr bwMode="auto">
          <a:xfrm>
            <a:off x="0" y="1103869"/>
            <a:ext cx="8586787" cy="3227989"/>
          </a:xfrm>
          <a:custGeom>
            <a:avLst/>
            <a:gdLst>
              <a:gd name="T0" fmla="*/ 14884 w 15431"/>
              <a:gd name="T1" fmla="*/ 5685 h 6277"/>
              <a:gd name="T2" fmla="*/ 13984 w 15431"/>
              <a:gd name="T3" fmla="*/ 5877 h 6277"/>
              <a:gd name="T4" fmla="*/ 10164 w 15431"/>
              <a:gd name="T5" fmla="*/ 5271 h 6277"/>
              <a:gd name="T6" fmla="*/ 10828 w 15431"/>
              <a:gd name="T7" fmla="*/ 3306 h 6277"/>
              <a:gd name="T8" fmla="*/ 11208 w 15431"/>
              <a:gd name="T9" fmla="*/ 3503 h 6277"/>
              <a:gd name="T10" fmla="*/ 11437 w 15431"/>
              <a:gd name="T11" fmla="*/ 3727 h 6277"/>
              <a:gd name="T12" fmla="*/ 11719 w 15431"/>
              <a:gd name="T13" fmla="*/ 2361 h 6277"/>
              <a:gd name="T14" fmla="*/ 11816 w 15431"/>
              <a:gd name="T15" fmla="*/ 1715 h 6277"/>
              <a:gd name="T16" fmla="*/ 12265 w 15431"/>
              <a:gd name="T17" fmla="*/ 17 h 6277"/>
              <a:gd name="T18" fmla="*/ 10942 w 15431"/>
              <a:gd name="T19" fmla="*/ 1342 h 6277"/>
              <a:gd name="T20" fmla="*/ 10621 w 15431"/>
              <a:gd name="T21" fmla="*/ 1786 h 6277"/>
              <a:gd name="T22" fmla="*/ 10316 w 15431"/>
              <a:gd name="T23" fmla="*/ 1870 h 6277"/>
              <a:gd name="T24" fmla="*/ 9422 w 15431"/>
              <a:gd name="T25" fmla="*/ 3015 h 6277"/>
              <a:gd name="T26" fmla="*/ 9508 w 15431"/>
              <a:gd name="T27" fmla="*/ 3143 h 6277"/>
              <a:gd name="T28" fmla="*/ 9807 w 15431"/>
              <a:gd name="T29" fmla="*/ 3079 h 6277"/>
              <a:gd name="T30" fmla="*/ 9991 w 15431"/>
              <a:gd name="T31" fmla="*/ 3027 h 6277"/>
              <a:gd name="T32" fmla="*/ 10389 w 15431"/>
              <a:gd name="T33" fmla="*/ 2846 h 6277"/>
              <a:gd name="T34" fmla="*/ 10472 w 15431"/>
              <a:gd name="T35" fmla="*/ 2713 h 6277"/>
              <a:gd name="T36" fmla="*/ 10794 w 15431"/>
              <a:gd name="T37" fmla="*/ 2740 h 6277"/>
              <a:gd name="T38" fmla="*/ 10734 w 15431"/>
              <a:gd name="T39" fmla="*/ 3109 h 6277"/>
              <a:gd name="T40" fmla="*/ 9330 w 15431"/>
              <a:gd name="T41" fmla="*/ 4228 h 6277"/>
              <a:gd name="T42" fmla="*/ 5979 w 15431"/>
              <a:gd name="T43" fmla="*/ 5877 h 6277"/>
              <a:gd name="T44" fmla="*/ 3310 w 15431"/>
              <a:gd name="T45" fmla="*/ 5876 h 6277"/>
              <a:gd name="T46" fmla="*/ 0 w 15431"/>
              <a:gd name="T47" fmla="*/ 6062 h 6277"/>
              <a:gd name="T48" fmla="*/ 5363 w 15431"/>
              <a:gd name="T49" fmla="*/ 6062 h 6277"/>
              <a:gd name="T50" fmla="*/ 5976 w 15431"/>
              <a:gd name="T51" fmla="*/ 6063 h 6277"/>
              <a:gd name="T52" fmla="*/ 9482 w 15431"/>
              <a:gd name="T53" fmla="*/ 4336 h 6277"/>
              <a:gd name="T54" fmla="*/ 10618 w 15431"/>
              <a:gd name="T55" fmla="*/ 3286 h 6277"/>
              <a:gd name="T56" fmla="*/ 10215 w 15431"/>
              <a:gd name="T57" fmla="*/ 3916 h 6277"/>
              <a:gd name="T58" fmla="*/ 11714 w 15431"/>
              <a:gd name="T59" fmla="*/ 6027 h 6277"/>
              <a:gd name="T60" fmla="*/ 13985 w 15431"/>
              <a:gd name="T61" fmla="*/ 6064 h 6277"/>
              <a:gd name="T62" fmla="*/ 14884 w 15431"/>
              <a:gd name="T63" fmla="*/ 6277 h 6277"/>
              <a:gd name="T64" fmla="*/ 15431 w 15431"/>
              <a:gd name="T65" fmla="*/ 5981 h 6277"/>
              <a:gd name="T66" fmla="*/ 11214 w 15431"/>
              <a:gd name="T67" fmla="*/ 2739 h 6277"/>
              <a:gd name="T68" fmla="*/ 11151 w 15431"/>
              <a:gd name="T69" fmla="*/ 2586 h 6277"/>
              <a:gd name="T70" fmla="*/ 10834 w 15431"/>
              <a:gd name="T71" fmla="*/ 2558 h 6277"/>
              <a:gd name="T72" fmla="*/ 10566 w 15431"/>
              <a:gd name="T73" fmla="*/ 2373 h 6277"/>
              <a:gd name="T74" fmla="*/ 10310 w 15431"/>
              <a:gd name="T75" fmla="*/ 2620 h 6277"/>
              <a:gd name="T76" fmla="*/ 10046 w 15431"/>
              <a:gd name="T77" fmla="*/ 2819 h 6277"/>
              <a:gd name="T78" fmla="*/ 9748 w 15431"/>
              <a:gd name="T79" fmla="*/ 2901 h 6277"/>
              <a:gd name="T80" fmla="*/ 10292 w 15431"/>
              <a:gd name="T81" fmla="*/ 2055 h 6277"/>
              <a:gd name="T82" fmla="*/ 10318 w 15431"/>
              <a:gd name="T83" fmla="*/ 2057 h 6277"/>
              <a:gd name="T84" fmla="*/ 11094 w 15431"/>
              <a:gd name="T85" fmla="*/ 1450 h 6277"/>
              <a:gd name="T86" fmla="*/ 11647 w 15431"/>
              <a:gd name="T87" fmla="*/ 1637 h 6277"/>
              <a:gd name="T88" fmla="*/ 11552 w 15431"/>
              <a:gd name="T89" fmla="*/ 2445 h 6277"/>
              <a:gd name="T90" fmla="*/ 11390 w 15431"/>
              <a:gd name="T91" fmla="*/ 3446 h 6277"/>
              <a:gd name="T92" fmla="*/ 11232 w 15431"/>
              <a:gd name="T93" fmla="*/ 3215 h 6277"/>
              <a:gd name="T94" fmla="*/ 11214 w 15431"/>
              <a:gd name="T95" fmla="*/ 2739 h 62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5431" h="6277">
                <a:moveTo>
                  <a:pt x="15135" y="5685"/>
                </a:moveTo>
                <a:cubicBezTo>
                  <a:pt x="14884" y="5685"/>
                  <a:pt x="14884" y="5685"/>
                  <a:pt x="14884" y="5685"/>
                </a:cubicBezTo>
                <a:cubicBezTo>
                  <a:pt x="15075" y="5876"/>
                  <a:pt x="15075" y="5876"/>
                  <a:pt x="15075" y="5876"/>
                </a:cubicBezTo>
                <a:cubicBezTo>
                  <a:pt x="14703" y="5873"/>
                  <a:pt x="14338" y="5875"/>
                  <a:pt x="13984" y="5877"/>
                </a:cubicBezTo>
                <a:cubicBezTo>
                  <a:pt x="13221" y="5882"/>
                  <a:pt x="12500" y="5887"/>
                  <a:pt x="11726" y="5841"/>
                </a:cubicBezTo>
                <a:cubicBezTo>
                  <a:pt x="10844" y="5784"/>
                  <a:pt x="10348" y="5603"/>
                  <a:pt x="10164" y="5271"/>
                </a:cubicBezTo>
                <a:cubicBezTo>
                  <a:pt x="10007" y="4987"/>
                  <a:pt x="10079" y="4562"/>
                  <a:pt x="10377" y="4008"/>
                </a:cubicBezTo>
                <a:cubicBezTo>
                  <a:pt x="10494" y="3823"/>
                  <a:pt x="10667" y="3552"/>
                  <a:pt x="10828" y="3306"/>
                </a:cubicBezTo>
                <a:cubicBezTo>
                  <a:pt x="10953" y="3320"/>
                  <a:pt x="11065" y="3337"/>
                  <a:pt x="11103" y="3351"/>
                </a:cubicBezTo>
                <a:cubicBezTo>
                  <a:pt x="11144" y="3392"/>
                  <a:pt x="11175" y="3446"/>
                  <a:pt x="11208" y="3503"/>
                </a:cubicBezTo>
                <a:cubicBezTo>
                  <a:pt x="11248" y="3573"/>
                  <a:pt x="11289" y="3645"/>
                  <a:pt x="11354" y="3705"/>
                </a:cubicBezTo>
                <a:cubicBezTo>
                  <a:pt x="11376" y="3725"/>
                  <a:pt x="11407" y="3733"/>
                  <a:pt x="11437" y="3727"/>
                </a:cubicBezTo>
                <a:cubicBezTo>
                  <a:pt x="11467" y="3720"/>
                  <a:pt x="11491" y="3699"/>
                  <a:pt x="11503" y="3671"/>
                </a:cubicBezTo>
                <a:cubicBezTo>
                  <a:pt x="11544" y="3572"/>
                  <a:pt x="11899" y="2695"/>
                  <a:pt x="11719" y="2361"/>
                </a:cubicBezTo>
                <a:cubicBezTo>
                  <a:pt x="11666" y="2252"/>
                  <a:pt x="11622" y="2140"/>
                  <a:pt x="11661" y="2053"/>
                </a:cubicBezTo>
                <a:cubicBezTo>
                  <a:pt x="11710" y="1942"/>
                  <a:pt x="11764" y="1827"/>
                  <a:pt x="11816" y="1715"/>
                </a:cubicBezTo>
                <a:cubicBezTo>
                  <a:pt x="12055" y="1203"/>
                  <a:pt x="12302" y="673"/>
                  <a:pt x="12313" y="100"/>
                </a:cubicBezTo>
                <a:cubicBezTo>
                  <a:pt x="12313" y="66"/>
                  <a:pt x="12295" y="34"/>
                  <a:pt x="12265" y="17"/>
                </a:cubicBezTo>
                <a:cubicBezTo>
                  <a:pt x="12236" y="0"/>
                  <a:pt x="12199" y="1"/>
                  <a:pt x="12170" y="19"/>
                </a:cubicBezTo>
                <a:cubicBezTo>
                  <a:pt x="11644" y="347"/>
                  <a:pt x="11287" y="853"/>
                  <a:pt x="10942" y="1342"/>
                </a:cubicBezTo>
                <a:cubicBezTo>
                  <a:pt x="10839" y="1487"/>
                  <a:pt x="10734" y="1637"/>
                  <a:pt x="10626" y="1777"/>
                </a:cubicBezTo>
                <a:cubicBezTo>
                  <a:pt x="10624" y="1780"/>
                  <a:pt x="10622" y="1783"/>
                  <a:pt x="10621" y="1786"/>
                </a:cubicBezTo>
                <a:cubicBezTo>
                  <a:pt x="10572" y="1866"/>
                  <a:pt x="10469" y="1871"/>
                  <a:pt x="10319" y="1870"/>
                </a:cubicBezTo>
                <a:cubicBezTo>
                  <a:pt x="10316" y="1870"/>
                  <a:pt x="10316" y="1870"/>
                  <a:pt x="10316" y="1870"/>
                </a:cubicBezTo>
                <a:cubicBezTo>
                  <a:pt x="10133" y="1844"/>
                  <a:pt x="9931" y="2030"/>
                  <a:pt x="9700" y="2438"/>
                </a:cubicBezTo>
                <a:cubicBezTo>
                  <a:pt x="9541" y="2719"/>
                  <a:pt x="9426" y="3003"/>
                  <a:pt x="9422" y="3015"/>
                </a:cubicBezTo>
                <a:cubicBezTo>
                  <a:pt x="9410" y="3044"/>
                  <a:pt x="9413" y="3077"/>
                  <a:pt x="9431" y="3102"/>
                </a:cubicBezTo>
                <a:cubicBezTo>
                  <a:pt x="9448" y="3128"/>
                  <a:pt x="9477" y="3143"/>
                  <a:pt x="9508" y="3143"/>
                </a:cubicBezTo>
                <a:cubicBezTo>
                  <a:pt x="9508" y="3143"/>
                  <a:pt x="9508" y="3143"/>
                  <a:pt x="9508" y="3143"/>
                </a:cubicBezTo>
                <a:cubicBezTo>
                  <a:pt x="9611" y="3143"/>
                  <a:pt x="9711" y="3110"/>
                  <a:pt x="9807" y="3079"/>
                </a:cubicBezTo>
                <a:cubicBezTo>
                  <a:pt x="9867" y="3059"/>
                  <a:pt x="9924" y="3040"/>
                  <a:pt x="9978" y="3030"/>
                </a:cubicBezTo>
                <a:cubicBezTo>
                  <a:pt x="9983" y="3029"/>
                  <a:pt x="9987" y="3028"/>
                  <a:pt x="9991" y="3027"/>
                </a:cubicBezTo>
                <a:cubicBezTo>
                  <a:pt x="10020" y="3017"/>
                  <a:pt x="10053" y="3009"/>
                  <a:pt x="10088" y="3001"/>
                </a:cubicBezTo>
                <a:cubicBezTo>
                  <a:pt x="10187" y="2979"/>
                  <a:pt x="10310" y="2951"/>
                  <a:pt x="10389" y="2846"/>
                </a:cubicBezTo>
                <a:cubicBezTo>
                  <a:pt x="10389" y="2845"/>
                  <a:pt x="10390" y="2845"/>
                  <a:pt x="10390" y="2844"/>
                </a:cubicBezTo>
                <a:cubicBezTo>
                  <a:pt x="10425" y="2795"/>
                  <a:pt x="10450" y="2751"/>
                  <a:pt x="10472" y="2713"/>
                </a:cubicBezTo>
                <a:cubicBezTo>
                  <a:pt x="10494" y="2676"/>
                  <a:pt x="10513" y="2643"/>
                  <a:pt x="10537" y="2611"/>
                </a:cubicBezTo>
                <a:cubicBezTo>
                  <a:pt x="10588" y="2660"/>
                  <a:pt x="10669" y="2713"/>
                  <a:pt x="10794" y="2740"/>
                </a:cubicBezTo>
                <a:cubicBezTo>
                  <a:pt x="10865" y="2756"/>
                  <a:pt x="10921" y="2763"/>
                  <a:pt x="10964" y="2766"/>
                </a:cubicBezTo>
                <a:cubicBezTo>
                  <a:pt x="10900" y="2858"/>
                  <a:pt x="10819" y="2979"/>
                  <a:pt x="10734" y="3109"/>
                </a:cubicBezTo>
                <a:cubicBezTo>
                  <a:pt x="10616" y="3098"/>
                  <a:pt x="10499" y="3091"/>
                  <a:pt x="10437" y="3090"/>
                </a:cubicBezTo>
                <a:cubicBezTo>
                  <a:pt x="10155" y="3090"/>
                  <a:pt x="9833" y="3523"/>
                  <a:pt x="9330" y="4228"/>
                </a:cubicBezTo>
                <a:cubicBezTo>
                  <a:pt x="8958" y="4750"/>
                  <a:pt x="8537" y="5342"/>
                  <a:pt x="8198" y="5525"/>
                </a:cubicBezTo>
                <a:cubicBezTo>
                  <a:pt x="7527" y="5898"/>
                  <a:pt x="6740" y="5887"/>
                  <a:pt x="5979" y="5877"/>
                </a:cubicBezTo>
                <a:cubicBezTo>
                  <a:pt x="5776" y="5874"/>
                  <a:pt x="5566" y="5871"/>
                  <a:pt x="5363" y="5876"/>
                </a:cubicBezTo>
                <a:cubicBezTo>
                  <a:pt x="5077" y="5874"/>
                  <a:pt x="4258" y="5875"/>
                  <a:pt x="3310" y="5876"/>
                </a:cubicBezTo>
                <a:cubicBezTo>
                  <a:pt x="2067" y="5878"/>
                  <a:pt x="658" y="5879"/>
                  <a:pt x="1" y="5875"/>
                </a:cubicBezTo>
                <a:cubicBezTo>
                  <a:pt x="0" y="6062"/>
                  <a:pt x="0" y="6062"/>
                  <a:pt x="0" y="6062"/>
                </a:cubicBezTo>
                <a:cubicBezTo>
                  <a:pt x="657" y="6066"/>
                  <a:pt x="2066" y="6064"/>
                  <a:pt x="3310" y="6063"/>
                </a:cubicBezTo>
                <a:cubicBezTo>
                  <a:pt x="4259" y="6061"/>
                  <a:pt x="5079" y="6060"/>
                  <a:pt x="5363" y="6062"/>
                </a:cubicBezTo>
                <a:cubicBezTo>
                  <a:pt x="5364" y="6062"/>
                  <a:pt x="5365" y="6062"/>
                  <a:pt x="5366" y="6062"/>
                </a:cubicBezTo>
                <a:cubicBezTo>
                  <a:pt x="5566" y="6058"/>
                  <a:pt x="5774" y="6061"/>
                  <a:pt x="5976" y="6063"/>
                </a:cubicBezTo>
                <a:cubicBezTo>
                  <a:pt x="6762" y="6074"/>
                  <a:pt x="7574" y="6085"/>
                  <a:pt x="8288" y="5689"/>
                </a:cubicBezTo>
                <a:cubicBezTo>
                  <a:pt x="8664" y="5486"/>
                  <a:pt x="9080" y="4901"/>
                  <a:pt x="9482" y="4336"/>
                </a:cubicBezTo>
                <a:cubicBezTo>
                  <a:pt x="9818" y="3864"/>
                  <a:pt x="10237" y="3277"/>
                  <a:pt x="10437" y="3277"/>
                </a:cubicBezTo>
                <a:cubicBezTo>
                  <a:pt x="10480" y="3277"/>
                  <a:pt x="10545" y="3281"/>
                  <a:pt x="10618" y="3286"/>
                </a:cubicBezTo>
                <a:cubicBezTo>
                  <a:pt x="10420" y="3591"/>
                  <a:pt x="10233" y="3887"/>
                  <a:pt x="10218" y="3911"/>
                </a:cubicBezTo>
                <a:cubicBezTo>
                  <a:pt x="10217" y="3912"/>
                  <a:pt x="10216" y="3914"/>
                  <a:pt x="10215" y="3916"/>
                </a:cubicBezTo>
                <a:cubicBezTo>
                  <a:pt x="9878" y="4541"/>
                  <a:pt x="9808" y="5013"/>
                  <a:pt x="10000" y="5361"/>
                </a:cubicBezTo>
                <a:cubicBezTo>
                  <a:pt x="10218" y="5754"/>
                  <a:pt x="10763" y="5966"/>
                  <a:pt x="11714" y="6027"/>
                </a:cubicBezTo>
                <a:cubicBezTo>
                  <a:pt x="12253" y="6059"/>
                  <a:pt x="12764" y="6067"/>
                  <a:pt x="13281" y="6067"/>
                </a:cubicBezTo>
                <a:cubicBezTo>
                  <a:pt x="13514" y="6067"/>
                  <a:pt x="13748" y="6066"/>
                  <a:pt x="13985" y="6064"/>
                </a:cubicBezTo>
                <a:cubicBezTo>
                  <a:pt x="14346" y="6062"/>
                  <a:pt x="14719" y="6059"/>
                  <a:pt x="15098" y="6063"/>
                </a:cubicBezTo>
                <a:cubicBezTo>
                  <a:pt x="14884" y="6277"/>
                  <a:pt x="14884" y="6277"/>
                  <a:pt x="14884" y="6277"/>
                </a:cubicBezTo>
                <a:cubicBezTo>
                  <a:pt x="15135" y="6277"/>
                  <a:pt x="15135" y="6277"/>
                  <a:pt x="15135" y="6277"/>
                </a:cubicBezTo>
                <a:cubicBezTo>
                  <a:pt x="15431" y="5981"/>
                  <a:pt x="15431" y="5981"/>
                  <a:pt x="15431" y="5981"/>
                </a:cubicBezTo>
                <a:lnTo>
                  <a:pt x="15135" y="5685"/>
                </a:lnTo>
                <a:close/>
                <a:moveTo>
                  <a:pt x="11214" y="2739"/>
                </a:moveTo>
                <a:cubicBezTo>
                  <a:pt x="11238" y="2711"/>
                  <a:pt x="11243" y="2673"/>
                  <a:pt x="11227" y="2640"/>
                </a:cubicBezTo>
                <a:cubicBezTo>
                  <a:pt x="11213" y="2609"/>
                  <a:pt x="11184" y="2589"/>
                  <a:pt x="11151" y="2586"/>
                </a:cubicBezTo>
                <a:cubicBezTo>
                  <a:pt x="11116" y="2577"/>
                  <a:pt x="11084" y="2578"/>
                  <a:pt x="11054" y="2579"/>
                </a:cubicBezTo>
                <a:cubicBezTo>
                  <a:pt x="11011" y="2581"/>
                  <a:pt x="10951" y="2584"/>
                  <a:pt x="10834" y="2558"/>
                </a:cubicBezTo>
                <a:cubicBezTo>
                  <a:pt x="10674" y="2522"/>
                  <a:pt x="10631" y="2433"/>
                  <a:pt x="10630" y="2431"/>
                </a:cubicBezTo>
                <a:cubicBezTo>
                  <a:pt x="10620" y="2401"/>
                  <a:pt x="10597" y="2381"/>
                  <a:pt x="10566" y="2373"/>
                </a:cubicBezTo>
                <a:cubicBezTo>
                  <a:pt x="10536" y="2365"/>
                  <a:pt x="10504" y="2375"/>
                  <a:pt x="10481" y="2397"/>
                </a:cubicBezTo>
                <a:cubicBezTo>
                  <a:pt x="10394" y="2476"/>
                  <a:pt x="10353" y="2546"/>
                  <a:pt x="10310" y="2620"/>
                </a:cubicBezTo>
                <a:cubicBezTo>
                  <a:pt x="10290" y="2656"/>
                  <a:pt x="10268" y="2693"/>
                  <a:pt x="10239" y="2735"/>
                </a:cubicBezTo>
                <a:cubicBezTo>
                  <a:pt x="10201" y="2784"/>
                  <a:pt x="10129" y="2800"/>
                  <a:pt x="10046" y="2819"/>
                </a:cubicBezTo>
                <a:cubicBezTo>
                  <a:pt x="10010" y="2828"/>
                  <a:pt x="9974" y="2836"/>
                  <a:pt x="9938" y="2848"/>
                </a:cubicBezTo>
                <a:cubicBezTo>
                  <a:pt x="9873" y="2860"/>
                  <a:pt x="9810" y="2881"/>
                  <a:pt x="9748" y="2901"/>
                </a:cubicBezTo>
                <a:cubicBezTo>
                  <a:pt x="9719" y="2911"/>
                  <a:pt x="9689" y="2921"/>
                  <a:pt x="9661" y="2929"/>
                </a:cubicBezTo>
                <a:cubicBezTo>
                  <a:pt x="9869" y="2463"/>
                  <a:pt x="10150" y="2030"/>
                  <a:pt x="10292" y="2055"/>
                </a:cubicBezTo>
                <a:cubicBezTo>
                  <a:pt x="10298" y="2056"/>
                  <a:pt x="10303" y="2056"/>
                  <a:pt x="10308" y="2056"/>
                </a:cubicBezTo>
                <a:cubicBezTo>
                  <a:pt x="10318" y="2057"/>
                  <a:pt x="10318" y="2057"/>
                  <a:pt x="10318" y="2057"/>
                </a:cubicBezTo>
                <a:cubicBezTo>
                  <a:pt x="10466" y="2058"/>
                  <a:pt x="10669" y="2060"/>
                  <a:pt x="10777" y="1887"/>
                </a:cubicBezTo>
                <a:cubicBezTo>
                  <a:pt x="10886" y="1744"/>
                  <a:pt x="10992" y="1595"/>
                  <a:pt x="11094" y="1450"/>
                </a:cubicBezTo>
                <a:cubicBezTo>
                  <a:pt x="11393" y="1027"/>
                  <a:pt x="11700" y="592"/>
                  <a:pt x="12113" y="284"/>
                </a:cubicBezTo>
                <a:cubicBezTo>
                  <a:pt x="12060" y="750"/>
                  <a:pt x="11850" y="1200"/>
                  <a:pt x="11647" y="1637"/>
                </a:cubicBezTo>
                <a:cubicBezTo>
                  <a:pt x="11594" y="1749"/>
                  <a:pt x="11540" y="1864"/>
                  <a:pt x="11491" y="1977"/>
                </a:cubicBezTo>
                <a:cubicBezTo>
                  <a:pt x="11410" y="2155"/>
                  <a:pt x="11506" y="2351"/>
                  <a:pt x="11552" y="2445"/>
                </a:cubicBezTo>
                <a:cubicBezTo>
                  <a:pt x="11553" y="2446"/>
                  <a:pt x="11553" y="2448"/>
                  <a:pt x="11554" y="2449"/>
                </a:cubicBezTo>
                <a:cubicBezTo>
                  <a:pt x="11645" y="2614"/>
                  <a:pt x="11518" y="3096"/>
                  <a:pt x="11390" y="3446"/>
                </a:cubicBezTo>
                <a:cubicBezTo>
                  <a:pt x="11384" y="3434"/>
                  <a:pt x="11377" y="3423"/>
                  <a:pt x="11370" y="3411"/>
                </a:cubicBezTo>
                <a:cubicBezTo>
                  <a:pt x="11332" y="3344"/>
                  <a:pt x="11292" y="3275"/>
                  <a:pt x="11232" y="3215"/>
                </a:cubicBezTo>
                <a:cubicBezTo>
                  <a:pt x="11211" y="3189"/>
                  <a:pt x="11176" y="3162"/>
                  <a:pt x="10942" y="3132"/>
                </a:cubicBezTo>
                <a:cubicBezTo>
                  <a:pt x="11066" y="2944"/>
                  <a:pt x="11170" y="2793"/>
                  <a:pt x="11214" y="273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7700491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532062E-6158-A4FB-43C4-EAA4C20C2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ACBD65-3EAE-E4B2-43B4-7C66ADAF23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288F28C-83D5-D2E1-7718-24BF066F4BB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49"/>
            <a:ext cx="4863283" cy="4208463"/>
          </a:xfrm>
        </p:spPr>
        <p:txBody>
          <a:bodyPr/>
          <a:lstStyle/>
          <a:p>
            <a:pPr lvl="4"/>
            <a:r>
              <a:rPr lang="en-GB">
                <a:solidFill>
                  <a:schemeClr val="accent6"/>
                </a:solidFill>
              </a:rPr>
              <a:t>Whilst we undergo our transformation to a sustainable steel production process, we recognise that taking action </a:t>
            </a:r>
          </a:p>
          <a:p>
            <a:pPr lvl="4"/>
            <a:r>
              <a:rPr lang="en-GB">
                <a:solidFill>
                  <a:schemeClr val="accent6"/>
                </a:solidFill>
              </a:rPr>
              <a:t>on climate change can’t wait</a:t>
            </a:r>
          </a:p>
          <a:p>
            <a:pPr lvl="4"/>
            <a:endParaRPr lang="en-GB"/>
          </a:p>
          <a:p>
            <a:pPr lvl="4"/>
            <a:r>
              <a:rPr lang="en-GB">
                <a:solidFill>
                  <a:schemeClr val="accent1"/>
                </a:solidFill>
              </a:rPr>
              <a:t>We must act today</a:t>
            </a:r>
          </a:p>
        </p:txBody>
      </p:sp>
    </p:spTree>
    <p:extLst>
      <p:ext uri="{BB962C8B-B14F-4D97-AF65-F5344CB8AC3E}">
        <p14:creationId xmlns:p14="http://schemas.microsoft.com/office/powerpoint/2010/main" val="4049077769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8D43C9-E44E-F4DA-84C5-BF722BC78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We are introducing carbon reduction and innovative circular </a:t>
            </a:r>
            <a:br>
              <a:rPr lang="en-GB"/>
            </a:br>
            <a:r>
              <a:rPr lang="en-GB"/>
              <a:t>solutions for the coming years covering our full supply chai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88BB30F-B7ED-ED93-2082-6C02AF65B8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id="{6343A352-30D3-3B21-A86C-83E23373FEDF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7" b="147"/>
          <a:stretch/>
        </p:blipFill>
        <p:spPr/>
      </p:pic>
      <p:pic>
        <p:nvPicPr>
          <p:cNvPr id="16" name="Picture Placeholder 15">
            <a:extLst>
              <a:ext uri="{FF2B5EF4-FFF2-40B4-BE49-F238E27FC236}">
                <a16:creationId xmlns:a16="http://schemas.microsoft.com/office/drawing/2014/main" id="{B9BAE91D-0E98-6DC3-1A0A-2597ECE6AD6D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8" b="148"/>
          <a:stretch>
            <a:fillRect/>
          </a:stretch>
        </p:blipFill>
        <p:spPr/>
      </p:pic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9992A927-F48E-7256-46B1-C1A65D8CB98B}"/>
              </a:ext>
            </a:extLst>
          </p:cNvPr>
          <p:cNvPicPr>
            <a:picLocks noGrp="1" noChangeAspect="1"/>
          </p:cNvPicPr>
          <p:nvPr>
            <p:ph type="pic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pic>
        <p:nvPicPr>
          <p:cNvPr id="20" name="Picture Placeholder 19">
            <a:extLst>
              <a:ext uri="{FF2B5EF4-FFF2-40B4-BE49-F238E27FC236}">
                <a16:creationId xmlns:a16="http://schemas.microsoft.com/office/drawing/2014/main" id="{68AA02E3-4834-631C-B675-7897EB8A3015}"/>
              </a:ext>
            </a:extLst>
          </p:cNvPr>
          <p:cNvPicPr>
            <a:picLocks noGrp="1" noChangeAspect="1"/>
          </p:cNvPicPr>
          <p:nvPr>
            <p:ph type="pic" idx="16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50AF95A-5037-2B08-732B-A292568C1FF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1978" y="1412788"/>
            <a:ext cx="2081688" cy="1426347"/>
          </a:xfrm>
        </p:spPr>
        <p:txBody>
          <a:bodyPr/>
          <a:lstStyle/>
          <a:p>
            <a:r>
              <a:rPr lang="en-GB"/>
              <a:t>Certified </a:t>
            </a:r>
          </a:p>
          <a:p>
            <a:r>
              <a:rPr lang="en-GB"/>
              <a:t>CO</a:t>
            </a:r>
            <a:r>
              <a:rPr lang="en-GB" baseline="-25000"/>
              <a:t>2</a:t>
            </a:r>
            <a:r>
              <a:rPr lang="en-GB"/>
              <a:t>e saving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695B82-EAE9-E42C-73D8-0D9A8E9CB5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0F1A5B7-E187-7F1E-99A6-0858DAEAF2E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37228" y="1410033"/>
            <a:ext cx="2025238" cy="1426347"/>
          </a:xfrm>
        </p:spPr>
        <p:txBody>
          <a:bodyPr/>
          <a:lstStyle/>
          <a:p>
            <a:r>
              <a:rPr lang="en-GB"/>
              <a:t>Carbon neutral downstream operation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629E72-5675-B057-0E5A-6C978E01016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GB"/>
              <a:t>Recycled conten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225D0EFA-727A-8C71-BB12-E6A354BDC53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en-GB"/>
              <a:t>Zero-carbon logistics</a:t>
            </a:r>
          </a:p>
        </p:txBody>
      </p:sp>
    </p:spTree>
    <p:extLst>
      <p:ext uri="{BB962C8B-B14F-4D97-AF65-F5344CB8AC3E}">
        <p14:creationId xmlns:p14="http://schemas.microsoft.com/office/powerpoint/2010/main" val="368475291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DAEFB2-D356-8C31-9FB9-0D9AF695D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B4D463-8B54-50A1-8DC6-2CF5010AC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5EFEA2-B4E1-05B4-78F2-930CF8F8C4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2124000"/>
            <a:ext cx="3173539" cy="1767665"/>
          </a:xfrm>
        </p:spPr>
        <p:txBody>
          <a:bodyPr/>
          <a:lstStyle/>
          <a:p>
            <a:r>
              <a:rPr lang="en-US" sz="2600"/>
              <a:t>To support our joint short-term ambitions</a:t>
            </a:r>
            <a:endParaRPr lang="en-GB" sz="2600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974B520B-C133-12D0-3570-B02E1960590A}"/>
              </a:ext>
            </a:extLst>
          </p:cNvPr>
          <p:cNvSpPr>
            <a:spLocks noEditPoints="1"/>
          </p:cNvSpPr>
          <p:nvPr/>
        </p:nvSpPr>
        <p:spPr bwMode="auto">
          <a:xfrm>
            <a:off x="590208" y="1216030"/>
            <a:ext cx="3693469" cy="630135"/>
          </a:xfrm>
          <a:custGeom>
            <a:avLst/>
            <a:gdLst>
              <a:gd name="T0" fmla="*/ 5818 w 5887"/>
              <a:gd name="T1" fmla="*/ 594 h 1004"/>
              <a:gd name="T2" fmla="*/ 5887 w 5887"/>
              <a:gd name="T3" fmla="*/ 607 h 1004"/>
              <a:gd name="T4" fmla="*/ 5638 w 5887"/>
              <a:gd name="T5" fmla="*/ 1002 h 1004"/>
              <a:gd name="T6" fmla="*/ 5646 w 5887"/>
              <a:gd name="T7" fmla="*/ 945 h 1004"/>
              <a:gd name="T8" fmla="*/ 5027 w 5887"/>
              <a:gd name="T9" fmla="*/ 147 h 1004"/>
              <a:gd name="T10" fmla="*/ 4914 w 5887"/>
              <a:gd name="T11" fmla="*/ 373 h 1004"/>
              <a:gd name="T12" fmla="*/ 5068 w 5887"/>
              <a:gd name="T13" fmla="*/ 955 h 1004"/>
              <a:gd name="T14" fmla="*/ 5268 w 5887"/>
              <a:gd name="T15" fmla="*/ 935 h 1004"/>
              <a:gd name="T16" fmla="*/ 5094 w 5887"/>
              <a:gd name="T17" fmla="*/ 373 h 1004"/>
              <a:gd name="T18" fmla="*/ 5094 w 5887"/>
              <a:gd name="T19" fmla="*/ 320 h 1004"/>
              <a:gd name="T20" fmla="*/ 4786 w 5887"/>
              <a:gd name="T21" fmla="*/ 71 h 1004"/>
              <a:gd name="T22" fmla="*/ 4839 w 5887"/>
              <a:gd name="T23" fmla="*/ 129 h 1004"/>
              <a:gd name="T24" fmla="*/ 4752 w 5887"/>
              <a:gd name="T25" fmla="*/ 320 h 1004"/>
              <a:gd name="T26" fmla="*/ 4818 w 5887"/>
              <a:gd name="T27" fmla="*/ 320 h 1004"/>
              <a:gd name="T28" fmla="*/ 4656 w 5887"/>
              <a:gd name="T29" fmla="*/ 933 h 1004"/>
              <a:gd name="T30" fmla="*/ 4172 w 5887"/>
              <a:gd name="T31" fmla="*/ 50 h 1004"/>
              <a:gd name="T32" fmla="*/ 3268 w 5887"/>
              <a:gd name="T33" fmla="*/ 988 h 1004"/>
              <a:gd name="T34" fmla="*/ 3478 w 5887"/>
              <a:gd name="T35" fmla="*/ 362 h 1004"/>
              <a:gd name="T36" fmla="*/ 3729 w 5887"/>
              <a:gd name="T37" fmla="*/ 988 h 1004"/>
              <a:gd name="T38" fmla="*/ 3267 w 5887"/>
              <a:gd name="T39" fmla="*/ 441 h 1004"/>
              <a:gd name="T40" fmla="*/ 3197 w 5887"/>
              <a:gd name="T41" fmla="*/ 320 h 1004"/>
              <a:gd name="T42" fmla="*/ 2763 w 5887"/>
              <a:gd name="T43" fmla="*/ 359 h 1004"/>
              <a:gd name="T44" fmla="*/ 2515 w 5887"/>
              <a:gd name="T45" fmla="*/ 656 h 1004"/>
              <a:gd name="T46" fmla="*/ 2448 w 5887"/>
              <a:gd name="T47" fmla="*/ 660 h 1004"/>
              <a:gd name="T48" fmla="*/ 2764 w 5887"/>
              <a:gd name="T49" fmla="*/ 305 h 1004"/>
              <a:gd name="T50" fmla="*/ 2073 w 5887"/>
              <a:gd name="T51" fmla="*/ 359 h 1004"/>
              <a:gd name="T52" fmla="*/ 1848 w 5887"/>
              <a:gd name="T53" fmla="*/ 780 h 1004"/>
              <a:gd name="T54" fmla="*/ 1831 w 5887"/>
              <a:gd name="T55" fmla="*/ 988 h 1004"/>
              <a:gd name="T56" fmla="*/ 2078 w 5887"/>
              <a:gd name="T57" fmla="*/ 1004 h 1004"/>
              <a:gd name="T58" fmla="*/ 1845 w 5887"/>
              <a:gd name="T59" fmla="*/ 444 h 1004"/>
              <a:gd name="T60" fmla="*/ 1777 w 5887"/>
              <a:gd name="T61" fmla="*/ 0 h 1004"/>
              <a:gd name="T62" fmla="*/ 1831 w 5887"/>
              <a:gd name="T63" fmla="*/ 988 h 1004"/>
              <a:gd name="T64" fmla="*/ 1462 w 5887"/>
              <a:gd name="T65" fmla="*/ 619 h 1004"/>
              <a:gd name="T66" fmla="*/ 1675 w 5887"/>
              <a:gd name="T67" fmla="*/ 372 h 1004"/>
              <a:gd name="T68" fmla="*/ 1458 w 5887"/>
              <a:gd name="T69" fmla="*/ 455 h 1004"/>
              <a:gd name="T70" fmla="*/ 1391 w 5887"/>
              <a:gd name="T71" fmla="*/ 320 h 1004"/>
              <a:gd name="T72" fmla="*/ 1156 w 5887"/>
              <a:gd name="T73" fmla="*/ 774 h 1004"/>
              <a:gd name="T74" fmla="*/ 818 w 5887"/>
              <a:gd name="T75" fmla="*/ 809 h 1004"/>
              <a:gd name="T76" fmla="*/ 1231 w 5887"/>
              <a:gd name="T77" fmla="*/ 988 h 1004"/>
              <a:gd name="T78" fmla="*/ 992 w 5887"/>
              <a:gd name="T79" fmla="*/ 305 h 1004"/>
              <a:gd name="T80" fmla="*/ 985 w 5887"/>
              <a:gd name="T81" fmla="*/ 360 h 1004"/>
              <a:gd name="T82" fmla="*/ 748 w 5887"/>
              <a:gd name="T83" fmla="*/ 820 h 1004"/>
              <a:gd name="T84" fmla="*/ 1161 w 5887"/>
              <a:gd name="T85" fmla="*/ 892 h 1004"/>
              <a:gd name="T86" fmla="*/ 677 w 5887"/>
              <a:gd name="T87" fmla="*/ 902 h 1004"/>
              <a:gd name="T88" fmla="*/ 476 w 5887"/>
              <a:gd name="T89" fmla="*/ 92 h 1004"/>
              <a:gd name="T90" fmla="*/ 475 w 5887"/>
              <a:gd name="T91" fmla="*/ 35 h 1004"/>
              <a:gd name="T92" fmla="*/ 696 w 5887"/>
              <a:gd name="T93" fmla="*/ 955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887" h="1004">
                <a:moveTo>
                  <a:pt x="5396" y="594"/>
                </a:moveTo>
                <a:cubicBezTo>
                  <a:pt x="5407" y="491"/>
                  <a:pt x="5471" y="359"/>
                  <a:pt x="5618" y="359"/>
                </a:cubicBezTo>
                <a:cubicBezTo>
                  <a:pt x="5780" y="359"/>
                  <a:pt x="5819" y="501"/>
                  <a:pt x="5818" y="594"/>
                </a:cubicBezTo>
                <a:lnTo>
                  <a:pt x="5396" y="594"/>
                </a:lnTo>
                <a:close/>
                <a:moveTo>
                  <a:pt x="5884" y="647"/>
                </a:moveTo>
                <a:cubicBezTo>
                  <a:pt x="5887" y="636"/>
                  <a:pt x="5887" y="625"/>
                  <a:pt x="5887" y="607"/>
                </a:cubicBezTo>
                <a:cubicBezTo>
                  <a:pt x="5887" y="511"/>
                  <a:pt x="5845" y="305"/>
                  <a:pt x="5627" y="305"/>
                </a:cubicBezTo>
                <a:cubicBezTo>
                  <a:pt x="5454" y="305"/>
                  <a:pt x="5326" y="444"/>
                  <a:pt x="5326" y="667"/>
                </a:cubicBezTo>
                <a:cubicBezTo>
                  <a:pt x="5326" y="863"/>
                  <a:pt x="5446" y="1002"/>
                  <a:pt x="5638" y="1002"/>
                </a:cubicBezTo>
                <a:cubicBezTo>
                  <a:pt x="5755" y="1002"/>
                  <a:pt x="5823" y="974"/>
                  <a:pt x="5848" y="961"/>
                </a:cubicBezTo>
                <a:cubicBezTo>
                  <a:pt x="5831" y="908"/>
                  <a:pt x="5831" y="908"/>
                  <a:pt x="5831" y="908"/>
                </a:cubicBezTo>
                <a:cubicBezTo>
                  <a:pt x="5794" y="926"/>
                  <a:pt x="5744" y="945"/>
                  <a:pt x="5646" y="945"/>
                </a:cubicBezTo>
                <a:cubicBezTo>
                  <a:pt x="5508" y="945"/>
                  <a:pt x="5391" y="862"/>
                  <a:pt x="5391" y="647"/>
                </a:cubicBezTo>
                <a:lnTo>
                  <a:pt x="5884" y="647"/>
                </a:lnTo>
                <a:close/>
                <a:moveTo>
                  <a:pt x="5027" y="147"/>
                </a:moveTo>
                <a:cubicBezTo>
                  <a:pt x="5027" y="320"/>
                  <a:pt x="5027" y="320"/>
                  <a:pt x="5027" y="320"/>
                </a:cubicBezTo>
                <a:cubicBezTo>
                  <a:pt x="4914" y="320"/>
                  <a:pt x="4914" y="320"/>
                  <a:pt x="4914" y="320"/>
                </a:cubicBezTo>
                <a:cubicBezTo>
                  <a:pt x="4914" y="373"/>
                  <a:pt x="4914" y="373"/>
                  <a:pt x="4914" y="373"/>
                </a:cubicBezTo>
                <a:cubicBezTo>
                  <a:pt x="5027" y="373"/>
                  <a:pt x="5027" y="373"/>
                  <a:pt x="5027" y="373"/>
                </a:cubicBezTo>
                <a:cubicBezTo>
                  <a:pt x="5027" y="796"/>
                  <a:pt x="5027" y="796"/>
                  <a:pt x="5027" y="796"/>
                </a:cubicBezTo>
                <a:cubicBezTo>
                  <a:pt x="5027" y="864"/>
                  <a:pt x="5038" y="920"/>
                  <a:pt x="5068" y="955"/>
                </a:cubicBezTo>
                <a:cubicBezTo>
                  <a:pt x="5094" y="987"/>
                  <a:pt x="5134" y="1002"/>
                  <a:pt x="5183" y="1002"/>
                </a:cubicBezTo>
                <a:cubicBezTo>
                  <a:pt x="5223" y="1002"/>
                  <a:pt x="5254" y="995"/>
                  <a:pt x="5276" y="987"/>
                </a:cubicBezTo>
                <a:cubicBezTo>
                  <a:pt x="5268" y="935"/>
                  <a:pt x="5268" y="935"/>
                  <a:pt x="5268" y="935"/>
                </a:cubicBezTo>
                <a:cubicBezTo>
                  <a:pt x="5251" y="941"/>
                  <a:pt x="5226" y="947"/>
                  <a:pt x="5191" y="947"/>
                </a:cubicBezTo>
                <a:cubicBezTo>
                  <a:pt x="5120" y="947"/>
                  <a:pt x="5094" y="892"/>
                  <a:pt x="5094" y="807"/>
                </a:cubicBezTo>
                <a:cubicBezTo>
                  <a:pt x="5094" y="373"/>
                  <a:pt x="5094" y="373"/>
                  <a:pt x="5094" y="373"/>
                </a:cubicBezTo>
                <a:cubicBezTo>
                  <a:pt x="5284" y="373"/>
                  <a:pt x="5284" y="373"/>
                  <a:pt x="5284" y="373"/>
                </a:cubicBezTo>
                <a:cubicBezTo>
                  <a:pt x="5284" y="320"/>
                  <a:pt x="5284" y="320"/>
                  <a:pt x="5284" y="320"/>
                </a:cubicBezTo>
                <a:cubicBezTo>
                  <a:pt x="5094" y="320"/>
                  <a:pt x="5094" y="320"/>
                  <a:pt x="5094" y="320"/>
                </a:cubicBezTo>
                <a:cubicBezTo>
                  <a:pt x="5094" y="127"/>
                  <a:pt x="5094" y="127"/>
                  <a:pt x="5094" y="127"/>
                </a:cubicBezTo>
                <a:lnTo>
                  <a:pt x="5027" y="147"/>
                </a:lnTo>
                <a:close/>
                <a:moveTo>
                  <a:pt x="4786" y="71"/>
                </a:moveTo>
                <a:cubicBezTo>
                  <a:pt x="4755" y="71"/>
                  <a:pt x="4732" y="99"/>
                  <a:pt x="4732" y="129"/>
                </a:cubicBezTo>
                <a:cubicBezTo>
                  <a:pt x="4732" y="160"/>
                  <a:pt x="4752" y="186"/>
                  <a:pt x="4783" y="186"/>
                </a:cubicBezTo>
                <a:cubicBezTo>
                  <a:pt x="4818" y="186"/>
                  <a:pt x="4839" y="160"/>
                  <a:pt x="4839" y="129"/>
                </a:cubicBezTo>
                <a:cubicBezTo>
                  <a:pt x="4839" y="97"/>
                  <a:pt x="4818" y="71"/>
                  <a:pt x="4786" y="71"/>
                </a:cubicBezTo>
                <a:moveTo>
                  <a:pt x="4818" y="320"/>
                </a:moveTo>
                <a:cubicBezTo>
                  <a:pt x="4752" y="320"/>
                  <a:pt x="4752" y="320"/>
                  <a:pt x="4752" y="320"/>
                </a:cubicBezTo>
                <a:cubicBezTo>
                  <a:pt x="4752" y="988"/>
                  <a:pt x="4752" y="988"/>
                  <a:pt x="4752" y="988"/>
                </a:cubicBezTo>
                <a:cubicBezTo>
                  <a:pt x="4818" y="988"/>
                  <a:pt x="4818" y="988"/>
                  <a:pt x="4818" y="988"/>
                </a:cubicBezTo>
                <a:lnTo>
                  <a:pt x="4818" y="320"/>
                </a:lnTo>
                <a:close/>
                <a:moveTo>
                  <a:pt x="4172" y="988"/>
                </a:moveTo>
                <a:cubicBezTo>
                  <a:pt x="4656" y="988"/>
                  <a:pt x="4656" y="988"/>
                  <a:pt x="4656" y="988"/>
                </a:cubicBezTo>
                <a:cubicBezTo>
                  <a:pt x="4656" y="933"/>
                  <a:pt x="4656" y="933"/>
                  <a:pt x="4656" y="933"/>
                </a:cubicBezTo>
                <a:cubicBezTo>
                  <a:pt x="4237" y="933"/>
                  <a:pt x="4237" y="933"/>
                  <a:pt x="4237" y="933"/>
                </a:cubicBezTo>
                <a:cubicBezTo>
                  <a:pt x="4237" y="50"/>
                  <a:pt x="4237" y="50"/>
                  <a:pt x="4237" y="50"/>
                </a:cubicBezTo>
                <a:cubicBezTo>
                  <a:pt x="4172" y="50"/>
                  <a:pt x="4172" y="50"/>
                  <a:pt x="4172" y="50"/>
                </a:cubicBezTo>
                <a:lnTo>
                  <a:pt x="4172" y="988"/>
                </a:lnTo>
                <a:close/>
                <a:moveTo>
                  <a:pt x="3203" y="988"/>
                </a:moveTo>
                <a:cubicBezTo>
                  <a:pt x="3268" y="988"/>
                  <a:pt x="3268" y="988"/>
                  <a:pt x="3268" y="988"/>
                </a:cubicBezTo>
                <a:cubicBezTo>
                  <a:pt x="3268" y="575"/>
                  <a:pt x="3268" y="575"/>
                  <a:pt x="3268" y="575"/>
                </a:cubicBezTo>
                <a:cubicBezTo>
                  <a:pt x="3268" y="554"/>
                  <a:pt x="3272" y="532"/>
                  <a:pt x="3278" y="515"/>
                </a:cubicBezTo>
                <a:cubicBezTo>
                  <a:pt x="3304" y="429"/>
                  <a:pt x="3384" y="362"/>
                  <a:pt x="3478" y="362"/>
                </a:cubicBezTo>
                <a:cubicBezTo>
                  <a:pt x="3616" y="362"/>
                  <a:pt x="3664" y="472"/>
                  <a:pt x="3664" y="593"/>
                </a:cubicBezTo>
                <a:cubicBezTo>
                  <a:pt x="3664" y="988"/>
                  <a:pt x="3664" y="988"/>
                  <a:pt x="3664" y="988"/>
                </a:cubicBezTo>
                <a:cubicBezTo>
                  <a:pt x="3729" y="988"/>
                  <a:pt x="3729" y="988"/>
                  <a:pt x="3729" y="988"/>
                </a:cubicBezTo>
                <a:cubicBezTo>
                  <a:pt x="3729" y="587"/>
                  <a:pt x="3729" y="587"/>
                  <a:pt x="3729" y="587"/>
                </a:cubicBezTo>
                <a:cubicBezTo>
                  <a:pt x="3729" y="337"/>
                  <a:pt x="3561" y="305"/>
                  <a:pt x="3496" y="305"/>
                </a:cubicBezTo>
                <a:cubicBezTo>
                  <a:pt x="3386" y="305"/>
                  <a:pt x="3303" y="366"/>
                  <a:pt x="3267" y="441"/>
                </a:cubicBezTo>
                <a:cubicBezTo>
                  <a:pt x="3264" y="441"/>
                  <a:pt x="3264" y="441"/>
                  <a:pt x="3264" y="441"/>
                </a:cubicBezTo>
                <a:cubicBezTo>
                  <a:pt x="3258" y="320"/>
                  <a:pt x="3258" y="320"/>
                  <a:pt x="3258" y="320"/>
                </a:cubicBezTo>
                <a:cubicBezTo>
                  <a:pt x="3197" y="320"/>
                  <a:pt x="3197" y="320"/>
                  <a:pt x="3197" y="320"/>
                </a:cubicBezTo>
                <a:cubicBezTo>
                  <a:pt x="3200" y="373"/>
                  <a:pt x="3203" y="419"/>
                  <a:pt x="3203" y="480"/>
                </a:cubicBezTo>
                <a:lnTo>
                  <a:pt x="3203" y="988"/>
                </a:lnTo>
                <a:close/>
                <a:moveTo>
                  <a:pt x="2763" y="359"/>
                </a:moveTo>
                <a:cubicBezTo>
                  <a:pt x="2938" y="359"/>
                  <a:pt x="3008" y="529"/>
                  <a:pt x="3008" y="651"/>
                </a:cubicBezTo>
                <a:cubicBezTo>
                  <a:pt x="3008" y="823"/>
                  <a:pt x="2898" y="948"/>
                  <a:pt x="2758" y="948"/>
                </a:cubicBezTo>
                <a:cubicBezTo>
                  <a:pt x="2622" y="948"/>
                  <a:pt x="2515" y="823"/>
                  <a:pt x="2515" y="656"/>
                </a:cubicBezTo>
                <a:cubicBezTo>
                  <a:pt x="2515" y="512"/>
                  <a:pt x="2593" y="359"/>
                  <a:pt x="2763" y="359"/>
                </a:cubicBezTo>
                <a:moveTo>
                  <a:pt x="2764" y="305"/>
                </a:moveTo>
                <a:cubicBezTo>
                  <a:pt x="2598" y="305"/>
                  <a:pt x="2448" y="430"/>
                  <a:pt x="2448" y="660"/>
                </a:cubicBezTo>
                <a:cubicBezTo>
                  <a:pt x="2448" y="869"/>
                  <a:pt x="2582" y="1004"/>
                  <a:pt x="2754" y="1004"/>
                </a:cubicBezTo>
                <a:cubicBezTo>
                  <a:pt x="2903" y="1004"/>
                  <a:pt x="3075" y="898"/>
                  <a:pt x="3075" y="647"/>
                </a:cubicBezTo>
                <a:cubicBezTo>
                  <a:pt x="3075" y="443"/>
                  <a:pt x="2949" y="305"/>
                  <a:pt x="2764" y="305"/>
                </a:cubicBezTo>
                <a:moveTo>
                  <a:pt x="1842" y="597"/>
                </a:moveTo>
                <a:cubicBezTo>
                  <a:pt x="1842" y="573"/>
                  <a:pt x="1846" y="555"/>
                  <a:pt x="1851" y="539"/>
                </a:cubicBezTo>
                <a:cubicBezTo>
                  <a:pt x="1883" y="427"/>
                  <a:pt x="1976" y="359"/>
                  <a:pt x="2073" y="359"/>
                </a:cubicBezTo>
                <a:cubicBezTo>
                  <a:pt x="2225" y="359"/>
                  <a:pt x="2309" y="495"/>
                  <a:pt x="2309" y="649"/>
                </a:cubicBezTo>
                <a:cubicBezTo>
                  <a:pt x="2309" y="823"/>
                  <a:pt x="2221" y="948"/>
                  <a:pt x="2068" y="948"/>
                </a:cubicBezTo>
                <a:cubicBezTo>
                  <a:pt x="1963" y="948"/>
                  <a:pt x="1877" y="881"/>
                  <a:pt x="1848" y="780"/>
                </a:cubicBezTo>
                <a:cubicBezTo>
                  <a:pt x="1845" y="763"/>
                  <a:pt x="1842" y="746"/>
                  <a:pt x="1842" y="731"/>
                </a:cubicBezTo>
                <a:lnTo>
                  <a:pt x="1842" y="597"/>
                </a:lnTo>
                <a:close/>
                <a:moveTo>
                  <a:pt x="1831" y="988"/>
                </a:moveTo>
                <a:cubicBezTo>
                  <a:pt x="1835" y="867"/>
                  <a:pt x="1835" y="867"/>
                  <a:pt x="1835" y="867"/>
                </a:cubicBezTo>
                <a:cubicBezTo>
                  <a:pt x="1838" y="867"/>
                  <a:pt x="1838" y="867"/>
                  <a:pt x="1838" y="867"/>
                </a:cubicBezTo>
                <a:cubicBezTo>
                  <a:pt x="1891" y="961"/>
                  <a:pt x="1970" y="1004"/>
                  <a:pt x="2078" y="1004"/>
                </a:cubicBezTo>
                <a:cubicBezTo>
                  <a:pt x="2224" y="1004"/>
                  <a:pt x="2376" y="885"/>
                  <a:pt x="2376" y="647"/>
                </a:cubicBezTo>
                <a:cubicBezTo>
                  <a:pt x="2376" y="445"/>
                  <a:pt x="2259" y="305"/>
                  <a:pt x="2090" y="305"/>
                </a:cubicBezTo>
                <a:cubicBezTo>
                  <a:pt x="1972" y="305"/>
                  <a:pt x="1890" y="358"/>
                  <a:pt x="1845" y="444"/>
                </a:cubicBezTo>
                <a:cubicBezTo>
                  <a:pt x="1842" y="444"/>
                  <a:pt x="1842" y="444"/>
                  <a:pt x="1842" y="444"/>
                </a:cubicBezTo>
                <a:cubicBezTo>
                  <a:pt x="1842" y="0"/>
                  <a:pt x="1842" y="0"/>
                  <a:pt x="1842" y="0"/>
                </a:cubicBezTo>
                <a:cubicBezTo>
                  <a:pt x="1777" y="0"/>
                  <a:pt x="1777" y="0"/>
                  <a:pt x="1777" y="0"/>
                </a:cubicBezTo>
                <a:cubicBezTo>
                  <a:pt x="1777" y="832"/>
                  <a:pt x="1777" y="832"/>
                  <a:pt x="1777" y="832"/>
                </a:cubicBezTo>
                <a:cubicBezTo>
                  <a:pt x="1777" y="883"/>
                  <a:pt x="1774" y="941"/>
                  <a:pt x="1771" y="988"/>
                </a:cubicBezTo>
                <a:lnTo>
                  <a:pt x="1831" y="988"/>
                </a:lnTo>
                <a:close/>
                <a:moveTo>
                  <a:pt x="1397" y="988"/>
                </a:moveTo>
                <a:cubicBezTo>
                  <a:pt x="1462" y="988"/>
                  <a:pt x="1462" y="988"/>
                  <a:pt x="1462" y="988"/>
                </a:cubicBezTo>
                <a:cubicBezTo>
                  <a:pt x="1462" y="619"/>
                  <a:pt x="1462" y="619"/>
                  <a:pt x="1462" y="619"/>
                </a:cubicBezTo>
                <a:cubicBezTo>
                  <a:pt x="1462" y="597"/>
                  <a:pt x="1465" y="575"/>
                  <a:pt x="1468" y="555"/>
                </a:cubicBezTo>
                <a:cubicBezTo>
                  <a:pt x="1486" y="448"/>
                  <a:pt x="1551" y="369"/>
                  <a:pt x="1643" y="369"/>
                </a:cubicBezTo>
                <a:cubicBezTo>
                  <a:pt x="1656" y="369"/>
                  <a:pt x="1665" y="369"/>
                  <a:pt x="1675" y="372"/>
                </a:cubicBezTo>
                <a:cubicBezTo>
                  <a:pt x="1675" y="308"/>
                  <a:pt x="1675" y="308"/>
                  <a:pt x="1675" y="308"/>
                </a:cubicBezTo>
                <a:cubicBezTo>
                  <a:pt x="1667" y="306"/>
                  <a:pt x="1657" y="305"/>
                  <a:pt x="1649" y="305"/>
                </a:cubicBezTo>
                <a:cubicBezTo>
                  <a:pt x="1557" y="305"/>
                  <a:pt x="1487" y="372"/>
                  <a:pt x="1458" y="455"/>
                </a:cubicBezTo>
                <a:cubicBezTo>
                  <a:pt x="1455" y="455"/>
                  <a:pt x="1455" y="455"/>
                  <a:pt x="1455" y="455"/>
                </a:cubicBezTo>
                <a:cubicBezTo>
                  <a:pt x="1452" y="320"/>
                  <a:pt x="1452" y="320"/>
                  <a:pt x="1452" y="320"/>
                </a:cubicBezTo>
                <a:cubicBezTo>
                  <a:pt x="1391" y="320"/>
                  <a:pt x="1391" y="320"/>
                  <a:pt x="1391" y="320"/>
                </a:cubicBezTo>
                <a:cubicBezTo>
                  <a:pt x="1394" y="384"/>
                  <a:pt x="1397" y="454"/>
                  <a:pt x="1397" y="521"/>
                </a:cubicBezTo>
                <a:lnTo>
                  <a:pt x="1397" y="988"/>
                </a:lnTo>
                <a:close/>
                <a:moveTo>
                  <a:pt x="1156" y="774"/>
                </a:moveTo>
                <a:cubicBezTo>
                  <a:pt x="1156" y="786"/>
                  <a:pt x="1153" y="800"/>
                  <a:pt x="1149" y="814"/>
                </a:cubicBezTo>
                <a:cubicBezTo>
                  <a:pt x="1125" y="880"/>
                  <a:pt x="1063" y="948"/>
                  <a:pt x="951" y="948"/>
                </a:cubicBezTo>
                <a:cubicBezTo>
                  <a:pt x="882" y="948"/>
                  <a:pt x="818" y="905"/>
                  <a:pt x="818" y="809"/>
                </a:cubicBezTo>
                <a:cubicBezTo>
                  <a:pt x="818" y="649"/>
                  <a:pt x="1010" y="626"/>
                  <a:pt x="1156" y="631"/>
                </a:cubicBezTo>
                <a:lnTo>
                  <a:pt x="1156" y="774"/>
                </a:lnTo>
                <a:close/>
                <a:moveTo>
                  <a:pt x="1231" y="988"/>
                </a:moveTo>
                <a:cubicBezTo>
                  <a:pt x="1224" y="937"/>
                  <a:pt x="1221" y="883"/>
                  <a:pt x="1221" y="830"/>
                </a:cubicBezTo>
                <a:cubicBezTo>
                  <a:pt x="1221" y="569"/>
                  <a:pt x="1221" y="569"/>
                  <a:pt x="1221" y="569"/>
                </a:cubicBezTo>
                <a:cubicBezTo>
                  <a:pt x="1221" y="450"/>
                  <a:pt x="1185" y="305"/>
                  <a:pt x="992" y="305"/>
                </a:cubicBezTo>
                <a:cubicBezTo>
                  <a:pt x="932" y="305"/>
                  <a:pt x="857" y="321"/>
                  <a:pt x="797" y="362"/>
                </a:cubicBezTo>
                <a:cubicBezTo>
                  <a:pt x="818" y="411"/>
                  <a:pt x="818" y="411"/>
                  <a:pt x="818" y="411"/>
                </a:cubicBezTo>
                <a:cubicBezTo>
                  <a:pt x="865" y="376"/>
                  <a:pt x="926" y="360"/>
                  <a:pt x="985" y="360"/>
                </a:cubicBezTo>
                <a:cubicBezTo>
                  <a:pt x="1143" y="359"/>
                  <a:pt x="1156" y="491"/>
                  <a:pt x="1156" y="558"/>
                </a:cubicBezTo>
                <a:cubicBezTo>
                  <a:pt x="1156" y="575"/>
                  <a:pt x="1156" y="575"/>
                  <a:pt x="1156" y="575"/>
                </a:cubicBezTo>
                <a:cubicBezTo>
                  <a:pt x="884" y="572"/>
                  <a:pt x="748" y="665"/>
                  <a:pt x="748" y="820"/>
                </a:cubicBezTo>
                <a:cubicBezTo>
                  <a:pt x="748" y="909"/>
                  <a:pt x="811" y="1004"/>
                  <a:pt x="944" y="1004"/>
                </a:cubicBezTo>
                <a:cubicBezTo>
                  <a:pt x="1051" y="1004"/>
                  <a:pt x="1125" y="944"/>
                  <a:pt x="1157" y="892"/>
                </a:cubicBezTo>
                <a:cubicBezTo>
                  <a:pt x="1161" y="892"/>
                  <a:pt x="1161" y="892"/>
                  <a:pt x="1161" y="892"/>
                </a:cubicBezTo>
                <a:cubicBezTo>
                  <a:pt x="1171" y="988"/>
                  <a:pt x="1171" y="988"/>
                  <a:pt x="1171" y="988"/>
                </a:cubicBezTo>
                <a:lnTo>
                  <a:pt x="1231" y="988"/>
                </a:lnTo>
                <a:close/>
                <a:moveTo>
                  <a:pt x="677" y="902"/>
                </a:moveTo>
                <a:cubicBezTo>
                  <a:pt x="624" y="929"/>
                  <a:pt x="546" y="945"/>
                  <a:pt x="465" y="945"/>
                </a:cubicBezTo>
                <a:cubicBezTo>
                  <a:pt x="215" y="945"/>
                  <a:pt x="68" y="781"/>
                  <a:pt x="68" y="526"/>
                </a:cubicBezTo>
                <a:cubicBezTo>
                  <a:pt x="68" y="256"/>
                  <a:pt x="223" y="92"/>
                  <a:pt x="476" y="92"/>
                </a:cubicBezTo>
                <a:cubicBezTo>
                  <a:pt x="556" y="92"/>
                  <a:pt x="624" y="108"/>
                  <a:pt x="671" y="132"/>
                </a:cubicBezTo>
                <a:cubicBezTo>
                  <a:pt x="694" y="76"/>
                  <a:pt x="694" y="76"/>
                  <a:pt x="694" y="76"/>
                </a:cubicBezTo>
                <a:cubicBezTo>
                  <a:pt x="664" y="61"/>
                  <a:pt x="595" y="35"/>
                  <a:pt x="475" y="35"/>
                </a:cubicBezTo>
                <a:cubicBezTo>
                  <a:pt x="180" y="35"/>
                  <a:pt x="0" y="246"/>
                  <a:pt x="0" y="525"/>
                </a:cubicBezTo>
                <a:cubicBezTo>
                  <a:pt x="0" y="858"/>
                  <a:pt x="217" y="1002"/>
                  <a:pt x="444" y="1002"/>
                </a:cubicBezTo>
                <a:cubicBezTo>
                  <a:pt x="559" y="1002"/>
                  <a:pt x="649" y="980"/>
                  <a:pt x="696" y="955"/>
                </a:cubicBezTo>
                <a:lnTo>
                  <a:pt x="677" y="9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DADDDB56-4786-02B2-F8A6-B75455ACF1E2}"/>
              </a:ext>
            </a:extLst>
          </p:cNvPr>
          <p:cNvSpPr>
            <a:spLocks noEditPoints="1"/>
          </p:cNvSpPr>
          <p:nvPr/>
        </p:nvSpPr>
        <p:spPr bwMode="auto">
          <a:xfrm>
            <a:off x="557213" y="425451"/>
            <a:ext cx="2787731" cy="622371"/>
          </a:xfrm>
          <a:custGeom>
            <a:avLst/>
            <a:gdLst>
              <a:gd name="T0" fmla="*/ 737 w 4444"/>
              <a:gd name="T1" fmla="*/ 978 h 992"/>
              <a:gd name="T2" fmla="*/ 288 w 4444"/>
              <a:gd name="T3" fmla="*/ 803 h 992"/>
              <a:gd name="T4" fmla="*/ 730 w 4444"/>
              <a:gd name="T5" fmla="*/ 161 h 992"/>
              <a:gd name="T6" fmla="*/ 41 w 4444"/>
              <a:gd name="T7" fmla="*/ 38 h 992"/>
              <a:gd name="T8" fmla="*/ 452 w 4444"/>
              <a:gd name="T9" fmla="*/ 214 h 992"/>
              <a:gd name="T10" fmla="*/ 0 w 4444"/>
              <a:gd name="T11" fmla="*/ 864 h 992"/>
              <a:gd name="T12" fmla="*/ 1403 w 4444"/>
              <a:gd name="T13" fmla="*/ 705 h 992"/>
              <a:gd name="T14" fmla="*/ 1103 w 4444"/>
              <a:gd name="T15" fmla="*/ 281 h 992"/>
              <a:gd name="T16" fmla="*/ 1123 w 4444"/>
              <a:gd name="T17" fmla="*/ 992 h 992"/>
              <a:gd name="T18" fmla="*/ 1344 w 4444"/>
              <a:gd name="T19" fmla="*/ 805 h 992"/>
              <a:gd name="T20" fmla="*/ 959 w 4444"/>
              <a:gd name="T21" fmla="*/ 705 h 992"/>
              <a:gd name="T22" fmla="*/ 958 w 4444"/>
              <a:gd name="T23" fmla="*/ 560 h 992"/>
              <a:gd name="T24" fmla="*/ 1211 w 4444"/>
              <a:gd name="T25" fmla="*/ 560 h 992"/>
              <a:gd name="T26" fmla="*/ 1454 w 4444"/>
              <a:gd name="T27" fmla="*/ 978 h 992"/>
              <a:gd name="T28" fmla="*/ 1668 w 4444"/>
              <a:gd name="T29" fmla="*/ 634 h 992"/>
              <a:gd name="T30" fmla="*/ 1818 w 4444"/>
              <a:gd name="T31" fmla="*/ 479 h 992"/>
              <a:gd name="T32" fmla="*/ 1876 w 4444"/>
              <a:gd name="T33" fmla="*/ 285 h 992"/>
              <a:gd name="T34" fmla="*/ 1645 w 4444"/>
              <a:gd name="T35" fmla="*/ 423 h 992"/>
              <a:gd name="T36" fmla="*/ 1631 w 4444"/>
              <a:gd name="T37" fmla="*/ 296 h 992"/>
              <a:gd name="T38" fmla="*/ 1454 w 4444"/>
              <a:gd name="T39" fmla="*/ 521 h 992"/>
              <a:gd name="T40" fmla="*/ 2527 w 4444"/>
              <a:gd name="T41" fmla="*/ 705 h 992"/>
              <a:gd name="T42" fmla="*/ 2227 w 4444"/>
              <a:gd name="T43" fmla="*/ 281 h 992"/>
              <a:gd name="T44" fmla="*/ 2247 w 4444"/>
              <a:gd name="T45" fmla="*/ 992 h 992"/>
              <a:gd name="T46" fmla="*/ 2468 w 4444"/>
              <a:gd name="T47" fmla="*/ 805 h 992"/>
              <a:gd name="T48" fmla="*/ 2083 w 4444"/>
              <a:gd name="T49" fmla="*/ 705 h 992"/>
              <a:gd name="T50" fmla="*/ 2082 w 4444"/>
              <a:gd name="T51" fmla="*/ 560 h 992"/>
              <a:gd name="T52" fmla="*/ 2335 w 4444"/>
              <a:gd name="T53" fmla="*/ 560 h 992"/>
              <a:gd name="T54" fmla="*/ 2570 w 4444"/>
              <a:gd name="T55" fmla="*/ 978 h 992"/>
              <a:gd name="T56" fmla="*/ 2779 w 4444"/>
              <a:gd name="T57" fmla="*/ 582 h 992"/>
              <a:gd name="T58" fmla="*/ 2887 w 4444"/>
              <a:gd name="T59" fmla="*/ 452 h 992"/>
              <a:gd name="T60" fmla="*/ 2987 w 4444"/>
              <a:gd name="T61" fmla="*/ 978 h 992"/>
              <a:gd name="T62" fmla="*/ 3196 w 4444"/>
              <a:gd name="T63" fmla="*/ 579 h 992"/>
              <a:gd name="T64" fmla="*/ 3303 w 4444"/>
              <a:gd name="T65" fmla="*/ 452 h 992"/>
              <a:gd name="T66" fmla="*/ 3404 w 4444"/>
              <a:gd name="T67" fmla="*/ 978 h 992"/>
              <a:gd name="T68" fmla="*/ 3613 w 4444"/>
              <a:gd name="T69" fmla="*/ 577 h 992"/>
              <a:gd name="T70" fmla="*/ 3249 w 4444"/>
              <a:gd name="T71" fmla="*/ 314 h 992"/>
              <a:gd name="T72" fmla="*/ 3156 w 4444"/>
              <a:gd name="T73" fmla="*/ 398 h 992"/>
              <a:gd name="T74" fmla="*/ 2759 w 4444"/>
              <a:gd name="T75" fmla="*/ 390 h 992"/>
              <a:gd name="T76" fmla="*/ 2747 w 4444"/>
              <a:gd name="T77" fmla="*/ 296 h 992"/>
              <a:gd name="T78" fmla="*/ 2570 w 4444"/>
              <a:gd name="T79" fmla="*/ 514 h 992"/>
              <a:gd name="T80" fmla="*/ 3883 w 4444"/>
              <a:gd name="T81" fmla="*/ 296 h 992"/>
              <a:gd name="T82" fmla="*/ 3669 w 4444"/>
              <a:gd name="T83" fmla="*/ 978 h 992"/>
              <a:gd name="T84" fmla="*/ 3883 w 4444"/>
              <a:gd name="T85" fmla="*/ 296 h 992"/>
              <a:gd name="T86" fmla="*/ 3890 w 4444"/>
              <a:gd name="T87" fmla="*/ 106 h 992"/>
              <a:gd name="T88" fmla="*/ 3663 w 4444"/>
              <a:gd name="T89" fmla="*/ 106 h 992"/>
              <a:gd name="T90" fmla="*/ 3776 w 4444"/>
              <a:gd name="T91" fmla="*/ 212 h 992"/>
              <a:gd name="T92" fmla="*/ 4146 w 4444"/>
              <a:gd name="T93" fmla="*/ 992 h 992"/>
              <a:gd name="T94" fmla="*/ 4258 w 4444"/>
              <a:gd name="T95" fmla="*/ 561 h 992"/>
              <a:gd name="T96" fmla="*/ 4228 w 4444"/>
              <a:gd name="T97" fmla="*/ 429 h 992"/>
              <a:gd name="T98" fmla="*/ 4414 w 4444"/>
              <a:gd name="T99" fmla="*/ 321 h 992"/>
              <a:gd name="T100" fmla="*/ 3941 w 4444"/>
              <a:gd name="T101" fmla="*/ 505 h 992"/>
              <a:gd name="T102" fmla="*/ 4238 w 4444"/>
              <a:gd name="T103" fmla="*/ 787 h 992"/>
              <a:gd name="T104" fmla="*/ 3962 w 4444"/>
              <a:gd name="T105" fmla="*/ 793 h 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444" h="992">
                <a:moveTo>
                  <a:pt x="0" y="978"/>
                </a:moveTo>
                <a:cubicBezTo>
                  <a:pt x="737" y="978"/>
                  <a:pt x="737" y="978"/>
                  <a:pt x="737" y="978"/>
                </a:cubicBezTo>
                <a:cubicBezTo>
                  <a:pt x="737" y="803"/>
                  <a:pt x="737" y="803"/>
                  <a:pt x="737" y="803"/>
                </a:cubicBezTo>
                <a:cubicBezTo>
                  <a:pt x="288" y="803"/>
                  <a:pt x="288" y="803"/>
                  <a:pt x="288" y="803"/>
                </a:cubicBezTo>
                <a:cubicBezTo>
                  <a:pt x="288" y="797"/>
                  <a:pt x="288" y="797"/>
                  <a:pt x="288" y="797"/>
                </a:cubicBezTo>
                <a:cubicBezTo>
                  <a:pt x="730" y="161"/>
                  <a:pt x="730" y="161"/>
                  <a:pt x="730" y="161"/>
                </a:cubicBezTo>
                <a:cubicBezTo>
                  <a:pt x="730" y="38"/>
                  <a:pt x="730" y="38"/>
                  <a:pt x="730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214"/>
                  <a:pt x="41" y="214"/>
                  <a:pt x="41" y="214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8"/>
                  <a:pt x="452" y="218"/>
                  <a:pt x="452" y="218"/>
                </a:cubicBezTo>
                <a:cubicBezTo>
                  <a:pt x="0" y="864"/>
                  <a:pt x="0" y="864"/>
                  <a:pt x="0" y="864"/>
                </a:cubicBezTo>
                <a:lnTo>
                  <a:pt x="0" y="978"/>
                </a:lnTo>
                <a:close/>
                <a:moveTo>
                  <a:pt x="1403" y="705"/>
                </a:moveTo>
                <a:cubicBezTo>
                  <a:pt x="1406" y="690"/>
                  <a:pt x="1410" y="657"/>
                  <a:pt x="1410" y="621"/>
                </a:cubicBezTo>
                <a:cubicBezTo>
                  <a:pt x="1410" y="452"/>
                  <a:pt x="1326" y="281"/>
                  <a:pt x="1103" y="281"/>
                </a:cubicBezTo>
                <a:cubicBezTo>
                  <a:pt x="865" y="281"/>
                  <a:pt x="755" y="472"/>
                  <a:pt x="755" y="645"/>
                </a:cubicBezTo>
                <a:cubicBezTo>
                  <a:pt x="755" y="858"/>
                  <a:pt x="889" y="992"/>
                  <a:pt x="1123" y="992"/>
                </a:cubicBezTo>
                <a:cubicBezTo>
                  <a:pt x="1216" y="992"/>
                  <a:pt x="1302" y="978"/>
                  <a:pt x="1372" y="949"/>
                </a:cubicBezTo>
                <a:cubicBezTo>
                  <a:pt x="1344" y="805"/>
                  <a:pt x="1344" y="805"/>
                  <a:pt x="1344" y="805"/>
                </a:cubicBezTo>
                <a:cubicBezTo>
                  <a:pt x="1286" y="825"/>
                  <a:pt x="1227" y="835"/>
                  <a:pt x="1154" y="835"/>
                </a:cubicBezTo>
                <a:cubicBezTo>
                  <a:pt x="1054" y="835"/>
                  <a:pt x="966" y="793"/>
                  <a:pt x="959" y="705"/>
                </a:cubicBezTo>
                <a:lnTo>
                  <a:pt x="1403" y="705"/>
                </a:lnTo>
                <a:close/>
                <a:moveTo>
                  <a:pt x="958" y="560"/>
                </a:moveTo>
                <a:cubicBezTo>
                  <a:pt x="964" y="504"/>
                  <a:pt x="1000" y="422"/>
                  <a:pt x="1092" y="422"/>
                </a:cubicBezTo>
                <a:cubicBezTo>
                  <a:pt x="1189" y="422"/>
                  <a:pt x="1211" y="508"/>
                  <a:pt x="1211" y="560"/>
                </a:cubicBezTo>
                <a:lnTo>
                  <a:pt x="958" y="560"/>
                </a:lnTo>
                <a:close/>
                <a:moveTo>
                  <a:pt x="1454" y="978"/>
                </a:moveTo>
                <a:cubicBezTo>
                  <a:pt x="1668" y="978"/>
                  <a:pt x="1668" y="978"/>
                  <a:pt x="1668" y="978"/>
                </a:cubicBezTo>
                <a:cubicBezTo>
                  <a:pt x="1668" y="634"/>
                  <a:pt x="1668" y="634"/>
                  <a:pt x="1668" y="634"/>
                </a:cubicBezTo>
                <a:cubicBezTo>
                  <a:pt x="1668" y="616"/>
                  <a:pt x="1669" y="600"/>
                  <a:pt x="1672" y="586"/>
                </a:cubicBezTo>
                <a:cubicBezTo>
                  <a:pt x="1686" y="519"/>
                  <a:pt x="1740" y="479"/>
                  <a:pt x="1818" y="479"/>
                </a:cubicBezTo>
                <a:cubicBezTo>
                  <a:pt x="1842" y="479"/>
                  <a:pt x="1859" y="482"/>
                  <a:pt x="1876" y="484"/>
                </a:cubicBezTo>
                <a:cubicBezTo>
                  <a:pt x="1876" y="285"/>
                  <a:pt x="1876" y="285"/>
                  <a:pt x="1876" y="285"/>
                </a:cubicBezTo>
                <a:cubicBezTo>
                  <a:pt x="1861" y="282"/>
                  <a:pt x="1851" y="281"/>
                  <a:pt x="1831" y="281"/>
                </a:cubicBezTo>
                <a:cubicBezTo>
                  <a:pt x="1764" y="281"/>
                  <a:pt x="1680" y="323"/>
                  <a:pt x="1645" y="423"/>
                </a:cubicBezTo>
                <a:cubicBezTo>
                  <a:pt x="1640" y="423"/>
                  <a:pt x="1640" y="423"/>
                  <a:pt x="1640" y="423"/>
                </a:cubicBezTo>
                <a:cubicBezTo>
                  <a:pt x="1631" y="296"/>
                  <a:pt x="1631" y="296"/>
                  <a:pt x="1631" y="296"/>
                </a:cubicBezTo>
                <a:cubicBezTo>
                  <a:pt x="1448" y="296"/>
                  <a:pt x="1448" y="296"/>
                  <a:pt x="1448" y="296"/>
                </a:cubicBezTo>
                <a:cubicBezTo>
                  <a:pt x="1452" y="355"/>
                  <a:pt x="1454" y="420"/>
                  <a:pt x="1454" y="521"/>
                </a:cubicBezTo>
                <a:lnTo>
                  <a:pt x="1454" y="978"/>
                </a:lnTo>
                <a:close/>
                <a:moveTo>
                  <a:pt x="2527" y="705"/>
                </a:moveTo>
                <a:cubicBezTo>
                  <a:pt x="2530" y="690"/>
                  <a:pt x="2534" y="657"/>
                  <a:pt x="2534" y="621"/>
                </a:cubicBezTo>
                <a:cubicBezTo>
                  <a:pt x="2534" y="452"/>
                  <a:pt x="2449" y="281"/>
                  <a:pt x="2227" y="281"/>
                </a:cubicBezTo>
                <a:cubicBezTo>
                  <a:pt x="1989" y="281"/>
                  <a:pt x="1879" y="472"/>
                  <a:pt x="1879" y="645"/>
                </a:cubicBezTo>
                <a:cubicBezTo>
                  <a:pt x="1879" y="858"/>
                  <a:pt x="2013" y="992"/>
                  <a:pt x="2247" y="992"/>
                </a:cubicBezTo>
                <a:cubicBezTo>
                  <a:pt x="2340" y="992"/>
                  <a:pt x="2425" y="978"/>
                  <a:pt x="2496" y="949"/>
                </a:cubicBezTo>
                <a:cubicBezTo>
                  <a:pt x="2468" y="805"/>
                  <a:pt x="2468" y="805"/>
                  <a:pt x="2468" y="805"/>
                </a:cubicBezTo>
                <a:cubicBezTo>
                  <a:pt x="2410" y="825"/>
                  <a:pt x="2351" y="835"/>
                  <a:pt x="2278" y="835"/>
                </a:cubicBezTo>
                <a:cubicBezTo>
                  <a:pt x="2178" y="835"/>
                  <a:pt x="2090" y="793"/>
                  <a:pt x="2083" y="705"/>
                </a:cubicBezTo>
                <a:lnTo>
                  <a:pt x="2527" y="705"/>
                </a:lnTo>
                <a:close/>
                <a:moveTo>
                  <a:pt x="2082" y="560"/>
                </a:moveTo>
                <a:cubicBezTo>
                  <a:pt x="2087" y="504"/>
                  <a:pt x="2124" y="422"/>
                  <a:pt x="2216" y="422"/>
                </a:cubicBezTo>
                <a:cubicBezTo>
                  <a:pt x="2313" y="422"/>
                  <a:pt x="2335" y="508"/>
                  <a:pt x="2335" y="560"/>
                </a:cubicBezTo>
                <a:lnTo>
                  <a:pt x="2082" y="560"/>
                </a:lnTo>
                <a:close/>
                <a:moveTo>
                  <a:pt x="2570" y="978"/>
                </a:moveTo>
                <a:cubicBezTo>
                  <a:pt x="2779" y="978"/>
                  <a:pt x="2779" y="978"/>
                  <a:pt x="2779" y="978"/>
                </a:cubicBezTo>
                <a:cubicBezTo>
                  <a:pt x="2779" y="582"/>
                  <a:pt x="2779" y="582"/>
                  <a:pt x="2779" y="582"/>
                </a:cubicBezTo>
                <a:cubicBezTo>
                  <a:pt x="2779" y="564"/>
                  <a:pt x="2780" y="544"/>
                  <a:pt x="2787" y="528"/>
                </a:cubicBezTo>
                <a:cubicBezTo>
                  <a:pt x="2800" y="494"/>
                  <a:pt x="2832" y="452"/>
                  <a:pt x="2887" y="452"/>
                </a:cubicBezTo>
                <a:cubicBezTo>
                  <a:pt x="2956" y="452"/>
                  <a:pt x="2987" y="511"/>
                  <a:pt x="2987" y="596"/>
                </a:cubicBezTo>
                <a:cubicBezTo>
                  <a:pt x="2987" y="978"/>
                  <a:pt x="2987" y="978"/>
                  <a:pt x="2987" y="978"/>
                </a:cubicBezTo>
                <a:cubicBezTo>
                  <a:pt x="3196" y="978"/>
                  <a:pt x="3196" y="978"/>
                  <a:pt x="3196" y="978"/>
                </a:cubicBezTo>
                <a:cubicBezTo>
                  <a:pt x="3196" y="579"/>
                  <a:pt x="3196" y="579"/>
                  <a:pt x="3196" y="579"/>
                </a:cubicBezTo>
                <a:cubicBezTo>
                  <a:pt x="3196" y="563"/>
                  <a:pt x="3199" y="542"/>
                  <a:pt x="3203" y="526"/>
                </a:cubicBezTo>
                <a:cubicBezTo>
                  <a:pt x="3218" y="486"/>
                  <a:pt x="3252" y="452"/>
                  <a:pt x="3303" y="452"/>
                </a:cubicBezTo>
                <a:cubicBezTo>
                  <a:pt x="3372" y="452"/>
                  <a:pt x="3404" y="510"/>
                  <a:pt x="3404" y="609"/>
                </a:cubicBezTo>
                <a:cubicBezTo>
                  <a:pt x="3404" y="978"/>
                  <a:pt x="3404" y="978"/>
                  <a:pt x="3404" y="978"/>
                </a:cubicBezTo>
                <a:cubicBezTo>
                  <a:pt x="3613" y="978"/>
                  <a:pt x="3613" y="978"/>
                  <a:pt x="3613" y="978"/>
                </a:cubicBezTo>
                <a:cubicBezTo>
                  <a:pt x="3613" y="577"/>
                  <a:pt x="3613" y="577"/>
                  <a:pt x="3613" y="577"/>
                </a:cubicBezTo>
                <a:cubicBezTo>
                  <a:pt x="3613" y="373"/>
                  <a:pt x="3513" y="281"/>
                  <a:pt x="3380" y="281"/>
                </a:cubicBezTo>
                <a:cubicBezTo>
                  <a:pt x="3330" y="281"/>
                  <a:pt x="3287" y="293"/>
                  <a:pt x="3249" y="314"/>
                </a:cubicBezTo>
                <a:cubicBezTo>
                  <a:pt x="3216" y="334"/>
                  <a:pt x="3186" y="362"/>
                  <a:pt x="3159" y="398"/>
                </a:cubicBezTo>
                <a:cubicBezTo>
                  <a:pt x="3156" y="398"/>
                  <a:pt x="3156" y="398"/>
                  <a:pt x="3156" y="398"/>
                </a:cubicBezTo>
                <a:cubicBezTo>
                  <a:pt x="3127" y="327"/>
                  <a:pt x="3058" y="281"/>
                  <a:pt x="2968" y="281"/>
                </a:cubicBezTo>
                <a:cubicBezTo>
                  <a:pt x="2851" y="281"/>
                  <a:pt x="2789" y="345"/>
                  <a:pt x="2759" y="390"/>
                </a:cubicBezTo>
                <a:cubicBezTo>
                  <a:pt x="2755" y="390"/>
                  <a:pt x="2755" y="390"/>
                  <a:pt x="2755" y="390"/>
                </a:cubicBezTo>
                <a:cubicBezTo>
                  <a:pt x="2747" y="296"/>
                  <a:pt x="2747" y="296"/>
                  <a:pt x="2747" y="296"/>
                </a:cubicBezTo>
                <a:cubicBezTo>
                  <a:pt x="2565" y="296"/>
                  <a:pt x="2565" y="296"/>
                  <a:pt x="2565" y="296"/>
                </a:cubicBezTo>
                <a:cubicBezTo>
                  <a:pt x="2568" y="358"/>
                  <a:pt x="2570" y="429"/>
                  <a:pt x="2570" y="514"/>
                </a:cubicBezTo>
                <a:lnTo>
                  <a:pt x="2570" y="978"/>
                </a:lnTo>
                <a:close/>
                <a:moveTo>
                  <a:pt x="3883" y="296"/>
                </a:moveTo>
                <a:cubicBezTo>
                  <a:pt x="3669" y="296"/>
                  <a:pt x="3669" y="296"/>
                  <a:pt x="3669" y="296"/>
                </a:cubicBezTo>
                <a:cubicBezTo>
                  <a:pt x="3669" y="978"/>
                  <a:pt x="3669" y="978"/>
                  <a:pt x="3669" y="978"/>
                </a:cubicBezTo>
                <a:cubicBezTo>
                  <a:pt x="3883" y="978"/>
                  <a:pt x="3883" y="978"/>
                  <a:pt x="3883" y="978"/>
                </a:cubicBezTo>
                <a:lnTo>
                  <a:pt x="3883" y="296"/>
                </a:lnTo>
                <a:close/>
                <a:moveTo>
                  <a:pt x="3776" y="212"/>
                </a:moveTo>
                <a:cubicBezTo>
                  <a:pt x="3846" y="212"/>
                  <a:pt x="3890" y="165"/>
                  <a:pt x="3890" y="106"/>
                </a:cubicBezTo>
                <a:cubicBezTo>
                  <a:pt x="3889" y="46"/>
                  <a:pt x="3846" y="0"/>
                  <a:pt x="3777" y="0"/>
                </a:cubicBezTo>
                <a:cubicBezTo>
                  <a:pt x="3708" y="0"/>
                  <a:pt x="3663" y="46"/>
                  <a:pt x="3663" y="106"/>
                </a:cubicBezTo>
                <a:cubicBezTo>
                  <a:pt x="3663" y="165"/>
                  <a:pt x="3707" y="212"/>
                  <a:pt x="3775" y="212"/>
                </a:cubicBezTo>
                <a:lnTo>
                  <a:pt x="3776" y="212"/>
                </a:lnTo>
                <a:close/>
                <a:moveTo>
                  <a:pt x="3924" y="944"/>
                </a:moveTo>
                <a:cubicBezTo>
                  <a:pt x="3976" y="971"/>
                  <a:pt x="4056" y="992"/>
                  <a:pt x="4146" y="992"/>
                </a:cubicBezTo>
                <a:cubicBezTo>
                  <a:pt x="4344" y="992"/>
                  <a:pt x="4444" y="899"/>
                  <a:pt x="4444" y="771"/>
                </a:cubicBezTo>
                <a:cubicBezTo>
                  <a:pt x="4442" y="671"/>
                  <a:pt x="4389" y="606"/>
                  <a:pt x="4258" y="561"/>
                </a:cubicBezTo>
                <a:cubicBezTo>
                  <a:pt x="4173" y="533"/>
                  <a:pt x="4146" y="515"/>
                  <a:pt x="4146" y="483"/>
                </a:cubicBezTo>
                <a:cubicBezTo>
                  <a:pt x="4146" y="450"/>
                  <a:pt x="4176" y="429"/>
                  <a:pt x="4228" y="429"/>
                </a:cubicBezTo>
                <a:cubicBezTo>
                  <a:pt x="4286" y="429"/>
                  <a:pt x="4346" y="451"/>
                  <a:pt x="4377" y="466"/>
                </a:cubicBezTo>
                <a:cubicBezTo>
                  <a:pt x="4414" y="321"/>
                  <a:pt x="4414" y="321"/>
                  <a:pt x="4414" y="321"/>
                </a:cubicBezTo>
                <a:cubicBezTo>
                  <a:pt x="4372" y="300"/>
                  <a:pt x="4301" y="281"/>
                  <a:pt x="4221" y="281"/>
                </a:cubicBezTo>
                <a:cubicBezTo>
                  <a:pt x="4051" y="281"/>
                  <a:pt x="3941" y="377"/>
                  <a:pt x="3941" y="505"/>
                </a:cubicBezTo>
                <a:cubicBezTo>
                  <a:pt x="3939" y="585"/>
                  <a:pt x="3994" y="662"/>
                  <a:pt x="4138" y="709"/>
                </a:cubicBezTo>
                <a:cubicBezTo>
                  <a:pt x="4217" y="734"/>
                  <a:pt x="4238" y="752"/>
                  <a:pt x="4238" y="787"/>
                </a:cubicBezTo>
                <a:cubicBezTo>
                  <a:pt x="4238" y="822"/>
                  <a:pt x="4211" y="843"/>
                  <a:pt x="4146" y="843"/>
                </a:cubicBezTo>
                <a:cubicBezTo>
                  <a:pt x="4083" y="843"/>
                  <a:pt x="4001" y="817"/>
                  <a:pt x="3962" y="793"/>
                </a:cubicBezTo>
                <a:lnTo>
                  <a:pt x="3924" y="9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6CAE93B6-AFDF-0291-DB25-18E22DEA1109}"/>
              </a:ext>
            </a:extLst>
          </p:cNvPr>
          <p:cNvSpPr>
            <a:spLocks noEditPoints="1"/>
          </p:cNvSpPr>
          <p:nvPr/>
        </p:nvSpPr>
        <p:spPr bwMode="auto">
          <a:xfrm>
            <a:off x="0" y="2063247"/>
            <a:ext cx="8586788" cy="2389692"/>
          </a:xfrm>
          <a:custGeom>
            <a:avLst/>
            <a:gdLst>
              <a:gd name="T0" fmla="*/ 16592 w 16931"/>
              <a:gd name="T1" fmla="*/ 4035 h 4712"/>
              <a:gd name="T2" fmla="*/ 16305 w 16931"/>
              <a:gd name="T3" fmla="*/ 4035 h 4712"/>
              <a:gd name="T4" fmla="*/ 16542 w 16931"/>
              <a:gd name="T5" fmla="*/ 4271 h 4712"/>
              <a:gd name="T6" fmla="*/ 14839 w 16931"/>
              <a:gd name="T7" fmla="*/ 4271 h 4712"/>
              <a:gd name="T8" fmla="*/ 14649 w 16931"/>
              <a:gd name="T9" fmla="*/ 4084 h 4712"/>
              <a:gd name="T10" fmla="*/ 14649 w 16931"/>
              <a:gd name="T11" fmla="*/ 1311 h 4712"/>
              <a:gd name="T12" fmla="*/ 14642 w 16931"/>
              <a:gd name="T13" fmla="*/ 1276 h 4712"/>
              <a:gd name="T14" fmla="*/ 14614 w 16931"/>
              <a:gd name="T15" fmla="*/ 1225 h 4712"/>
              <a:gd name="T16" fmla="*/ 13415 w 16931"/>
              <a:gd name="T17" fmla="*/ 31 h 4712"/>
              <a:gd name="T18" fmla="*/ 13335 w 16931"/>
              <a:gd name="T19" fmla="*/ 3 h 4712"/>
              <a:gd name="T20" fmla="*/ 13328 w 16931"/>
              <a:gd name="T21" fmla="*/ 2 h 4712"/>
              <a:gd name="T22" fmla="*/ 11502 w 16931"/>
              <a:gd name="T23" fmla="*/ 2 h 4712"/>
              <a:gd name="T24" fmla="*/ 11402 w 16931"/>
              <a:gd name="T25" fmla="*/ 102 h 4712"/>
              <a:gd name="T26" fmla="*/ 11402 w 16931"/>
              <a:gd name="T27" fmla="*/ 4084 h 4712"/>
              <a:gd name="T28" fmla="*/ 11212 w 16931"/>
              <a:gd name="T29" fmla="*/ 4271 h 4712"/>
              <a:gd name="T30" fmla="*/ 0 w 16931"/>
              <a:gd name="T31" fmla="*/ 4271 h 4712"/>
              <a:gd name="T32" fmla="*/ 0 w 16931"/>
              <a:gd name="T33" fmla="*/ 4472 h 4712"/>
              <a:gd name="T34" fmla="*/ 11212 w 16931"/>
              <a:gd name="T35" fmla="*/ 4472 h 4712"/>
              <a:gd name="T36" fmla="*/ 11602 w 16931"/>
              <a:gd name="T37" fmla="*/ 4084 h 4712"/>
              <a:gd name="T38" fmla="*/ 11602 w 16931"/>
              <a:gd name="T39" fmla="*/ 202 h 4712"/>
              <a:gd name="T40" fmla="*/ 13244 w 16931"/>
              <a:gd name="T41" fmla="*/ 202 h 4712"/>
              <a:gd name="T42" fmla="*/ 13244 w 16931"/>
              <a:gd name="T43" fmla="*/ 1296 h 4712"/>
              <a:gd name="T44" fmla="*/ 13344 w 16931"/>
              <a:gd name="T45" fmla="*/ 1396 h 4712"/>
              <a:gd name="T46" fmla="*/ 14448 w 16931"/>
              <a:gd name="T47" fmla="*/ 1396 h 4712"/>
              <a:gd name="T48" fmla="*/ 14448 w 16931"/>
              <a:gd name="T49" fmla="*/ 2316 h 4712"/>
              <a:gd name="T50" fmla="*/ 13589 w 16931"/>
              <a:gd name="T51" fmla="*/ 1873 h 4712"/>
              <a:gd name="T52" fmla="*/ 12534 w 16931"/>
              <a:gd name="T53" fmla="*/ 2926 h 4712"/>
              <a:gd name="T54" fmla="*/ 13589 w 16931"/>
              <a:gd name="T55" fmla="*/ 3979 h 4712"/>
              <a:gd name="T56" fmla="*/ 14448 w 16931"/>
              <a:gd name="T57" fmla="*/ 3535 h 4712"/>
              <a:gd name="T58" fmla="*/ 14448 w 16931"/>
              <a:gd name="T59" fmla="*/ 4084 h 4712"/>
              <a:gd name="T60" fmla="*/ 14839 w 16931"/>
              <a:gd name="T61" fmla="*/ 4472 h 4712"/>
              <a:gd name="T62" fmla="*/ 16546 w 16931"/>
              <a:gd name="T63" fmla="*/ 4472 h 4712"/>
              <a:gd name="T64" fmla="*/ 16306 w 16931"/>
              <a:gd name="T65" fmla="*/ 4712 h 4712"/>
              <a:gd name="T66" fmla="*/ 16593 w 16931"/>
              <a:gd name="T67" fmla="*/ 4712 h 4712"/>
              <a:gd name="T68" fmla="*/ 16931 w 16931"/>
              <a:gd name="T69" fmla="*/ 4373 h 4712"/>
              <a:gd name="T70" fmla="*/ 16592 w 16931"/>
              <a:gd name="T71" fmla="*/ 4035 h 4712"/>
              <a:gd name="T72" fmla="*/ 13445 w 16931"/>
              <a:gd name="T73" fmla="*/ 359 h 4712"/>
              <a:gd name="T74" fmla="*/ 14289 w 16931"/>
              <a:gd name="T75" fmla="*/ 1196 h 4712"/>
              <a:gd name="T76" fmla="*/ 13445 w 16931"/>
              <a:gd name="T77" fmla="*/ 1196 h 4712"/>
              <a:gd name="T78" fmla="*/ 13445 w 16931"/>
              <a:gd name="T79" fmla="*/ 359 h 4712"/>
              <a:gd name="T80" fmla="*/ 13589 w 16931"/>
              <a:gd name="T81" fmla="*/ 3778 h 4712"/>
              <a:gd name="T82" fmla="*/ 12735 w 16931"/>
              <a:gd name="T83" fmla="*/ 2926 h 4712"/>
              <a:gd name="T84" fmla="*/ 13589 w 16931"/>
              <a:gd name="T85" fmla="*/ 2073 h 4712"/>
              <a:gd name="T86" fmla="*/ 14268 w 16931"/>
              <a:gd name="T87" fmla="*/ 2409 h 4712"/>
              <a:gd name="T88" fmla="*/ 13661 w 16931"/>
              <a:gd name="T89" fmla="*/ 3082 h 4712"/>
              <a:gd name="T90" fmla="*/ 13273 w 16931"/>
              <a:gd name="T91" fmla="*/ 2725 h 4712"/>
              <a:gd name="T92" fmla="*/ 13132 w 16931"/>
              <a:gd name="T93" fmla="*/ 2731 h 4712"/>
              <a:gd name="T94" fmla="*/ 13138 w 16931"/>
              <a:gd name="T95" fmla="*/ 2873 h 4712"/>
              <a:gd name="T96" fmla="*/ 13599 w 16931"/>
              <a:gd name="T97" fmla="*/ 3297 h 4712"/>
              <a:gd name="T98" fmla="*/ 13667 w 16931"/>
              <a:gd name="T99" fmla="*/ 3324 h 4712"/>
              <a:gd name="T100" fmla="*/ 13672 w 16931"/>
              <a:gd name="T101" fmla="*/ 3324 h 4712"/>
              <a:gd name="T102" fmla="*/ 13742 w 16931"/>
              <a:gd name="T103" fmla="*/ 3291 h 4712"/>
              <a:gd name="T104" fmla="*/ 14374 w 16931"/>
              <a:gd name="T105" fmla="*/ 2590 h 4712"/>
              <a:gd name="T106" fmla="*/ 14444 w 16931"/>
              <a:gd name="T107" fmla="*/ 2926 h 4712"/>
              <a:gd name="T108" fmla="*/ 13589 w 16931"/>
              <a:gd name="T109" fmla="*/ 3778 h 4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931" h="4712">
                <a:moveTo>
                  <a:pt x="16592" y="4035"/>
                </a:moveTo>
                <a:cubicBezTo>
                  <a:pt x="16305" y="4035"/>
                  <a:pt x="16305" y="4035"/>
                  <a:pt x="16305" y="4035"/>
                </a:cubicBezTo>
                <a:cubicBezTo>
                  <a:pt x="16542" y="4271"/>
                  <a:pt x="16542" y="4271"/>
                  <a:pt x="16542" y="4271"/>
                </a:cubicBezTo>
                <a:cubicBezTo>
                  <a:pt x="14839" y="4271"/>
                  <a:pt x="14839" y="4271"/>
                  <a:pt x="14839" y="4271"/>
                </a:cubicBezTo>
                <a:cubicBezTo>
                  <a:pt x="14734" y="4271"/>
                  <a:pt x="14649" y="4187"/>
                  <a:pt x="14649" y="4084"/>
                </a:cubicBezTo>
                <a:cubicBezTo>
                  <a:pt x="14649" y="1311"/>
                  <a:pt x="14649" y="1311"/>
                  <a:pt x="14649" y="1311"/>
                </a:cubicBezTo>
                <a:cubicBezTo>
                  <a:pt x="14649" y="1299"/>
                  <a:pt x="14646" y="1287"/>
                  <a:pt x="14642" y="1276"/>
                </a:cubicBezTo>
                <a:cubicBezTo>
                  <a:pt x="14638" y="1257"/>
                  <a:pt x="14629" y="1239"/>
                  <a:pt x="14614" y="1225"/>
                </a:cubicBezTo>
                <a:cubicBezTo>
                  <a:pt x="13415" y="31"/>
                  <a:pt x="13415" y="31"/>
                  <a:pt x="13415" y="31"/>
                </a:cubicBezTo>
                <a:cubicBezTo>
                  <a:pt x="13394" y="10"/>
                  <a:pt x="13364" y="0"/>
                  <a:pt x="13335" y="3"/>
                </a:cubicBezTo>
                <a:cubicBezTo>
                  <a:pt x="13333" y="2"/>
                  <a:pt x="13331" y="2"/>
                  <a:pt x="13328" y="2"/>
                </a:cubicBezTo>
                <a:cubicBezTo>
                  <a:pt x="11502" y="2"/>
                  <a:pt x="11502" y="2"/>
                  <a:pt x="11502" y="2"/>
                </a:cubicBezTo>
                <a:cubicBezTo>
                  <a:pt x="11447" y="2"/>
                  <a:pt x="11402" y="47"/>
                  <a:pt x="11402" y="102"/>
                </a:cubicBezTo>
                <a:cubicBezTo>
                  <a:pt x="11402" y="4084"/>
                  <a:pt x="11402" y="4084"/>
                  <a:pt x="11402" y="4084"/>
                </a:cubicBezTo>
                <a:cubicBezTo>
                  <a:pt x="11402" y="4187"/>
                  <a:pt x="11317" y="4271"/>
                  <a:pt x="11212" y="4271"/>
                </a:cubicBezTo>
                <a:cubicBezTo>
                  <a:pt x="0" y="4271"/>
                  <a:pt x="0" y="4271"/>
                  <a:pt x="0" y="4271"/>
                </a:cubicBezTo>
                <a:cubicBezTo>
                  <a:pt x="0" y="4472"/>
                  <a:pt x="0" y="4472"/>
                  <a:pt x="0" y="4472"/>
                </a:cubicBezTo>
                <a:cubicBezTo>
                  <a:pt x="11212" y="4472"/>
                  <a:pt x="11212" y="4472"/>
                  <a:pt x="11212" y="4472"/>
                </a:cubicBezTo>
                <a:cubicBezTo>
                  <a:pt x="11427" y="4472"/>
                  <a:pt x="11602" y="4298"/>
                  <a:pt x="11602" y="4084"/>
                </a:cubicBezTo>
                <a:cubicBezTo>
                  <a:pt x="11602" y="202"/>
                  <a:pt x="11602" y="202"/>
                  <a:pt x="11602" y="202"/>
                </a:cubicBezTo>
                <a:cubicBezTo>
                  <a:pt x="13244" y="202"/>
                  <a:pt x="13244" y="202"/>
                  <a:pt x="13244" y="202"/>
                </a:cubicBezTo>
                <a:cubicBezTo>
                  <a:pt x="13244" y="1296"/>
                  <a:pt x="13244" y="1296"/>
                  <a:pt x="13244" y="1296"/>
                </a:cubicBezTo>
                <a:cubicBezTo>
                  <a:pt x="13244" y="1351"/>
                  <a:pt x="13289" y="1396"/>
                  <a:pt x="13344" y="1396"/>
                </a:cubicBezTo>
                <a:cubicBezTo>
                  <a:pt x="14448" y="1396"/>
                  <a:pt x="14448" y="1396"/>
                  <a:pt x="14448" y="1396"/>
                </a:cubicBezTo>
                <a:cubicBezTo>
                  <a:pt x="14448" y="2316"/>
                  <a:pt x="14448" y="2316"/>
                  <a:pt x="14448" y="2316"/>
                </a:cubicBezTo>
                <a:cubicBezTo>
                  <a:pt x="14257" y="2048"/>
                  <a:pt x="13943" y="1873"/>
                  <a:pt x="13589" y="1873"/>
                </a:cubicBezTo>
                <a:cubicBezTo>
                  <a:pt x="13007" y="1873"/>
                  <a:pt x="12534" y="2345"/>
                  <a:pt x="12534" y="2926"/>
                </a:cubicBezTo>
                <a:cubicBezTo>
                  <a:pt x="12534" y="3506"/>
                  <a:pt x="13007" y="3979"/>
                  <a:pt x="13589" y="3979"/>
                </a:cubicBezTo>
                <a:cubicBezTo>
                  <a:pt x="13943" y="3979"/>
                  <a:pt x="14257" y="3803"/>
                  <a:pt x="14448" y="3535"/>
                </a:cubicBezTo>
                <a:cubicBezTo>
                  <a:pt x="14448" y="4084"/>
                  <a:pt x="14448" y="4084"/>
                  <a:pt x="14448" y="4084"/>
                </a:cubicBezTo>
                <a:cubicBezTo>
                  <a:pt x="14448" y="4298"/>
                  <a:pt x="14623" y="4472"/>
                  <a:pt x="14839" y="4472"/>
                </a:cubicBezTo>
                <a:cubicBezTo>
                  <a:pt x="16546" y="4472"/>
                  <a:pt x="16546" y="4472"/>
                  <a:pt x="16546" y="4472"/>
                </a:cubicBezTo>
                <a:cubicBezTo>
                  <a:pt x="16306" y="4712"/>
                  <a:pt x="16306" y="4712"/>
                  <a:pt x="16306" y="4712"/>
                </a:cubicBezTo>
                <a:cubicBezTo>
                  <a:pt x="16593" y="4712"/>
                  <a:pt x="16593" y="4712"/>
                  <a:pt x="16593" y="4712"/>
                </a:cubicBezTo>
                <a:cubicBezTo>
                  <a:pt x="16931" y="4373"/>
                  <a:pt x="16931" y="4373"/>
                  <a:pt x="16931" y="4373"/>
                </a:cubicBezTo>
                <a:lnTo>
                  <a:pt x="16592" y="4035"/>
                </a:lnTo>
                <a:close/>
                <a:moveTo>
                  <a:pt x="13445" y="359"/>
                </a:moveTo>
                <a:cubicBezTo>
                  <a:pt x="14289" y="1196"/>
                  <a:pt x="14289" y="1196"/>
                  <a:pt x="14289" y="1196"/>
                </a:cubicBezTo>
                <a:cubicBezTo>
                  <a:pt x="13445" y="1196"/>
                  <a:pt x="13445" y="1196"/>
                  <a:pt x="13445" y="1196"/>
                </a:cubicBezTo>
                <a:lnTo>
                  <a:pt x="13445" y="359"/>
                </a:lnTo>
                <a:close/>
                <a:moveTo>
                  <a:pt x="13589" y="3778"/>
                </a:moveTo>
                <a:cubicBezTo>
                  <a:pt x="13118" y="3778"/>
                  <a:pt x="12735" y="3396"/>
                  <a:pt x="12735" y="2926"/>
                </a:cubicBezTo>
                <a:cubicBezTo>
                  <a:pt x="12735" y="2456"/>
                  <a:pt x="13118" y="2073"/>
                  <a:pt x="13589" y="2073"/>
                </a:cubicBezTo>
                <a:cubicBezTo>
                  <a:pt x="13865" y="2073"/>
                  <a:pt x="14112" y="2205"/>
                  <a:pt x="14268" y="2409"/>
                </a:cubicBezTo>
                <a:cubicBezTo>
                  <a:pt x="13661" y="3082"/>
                  <a:pt x="13661" y="3082"/>
                  <a:pt x="13661" y="3082"/>
                </a:cubicBezTo>
                <a:cubicBezTo>
                  <a:pt x="13273" y="2725"/>
                  <a:pt x="13273" y="2725"/>
                  <a:pt x="13273" y="2725"/>
                </a:cubicBezTo>
                <a:cubicBezTo>
                  <a:pt x="13233" y="2688"/>
                  <a:pt x="13169" y="2691"/>
                  <a:pt x="13132" y="2731"/>
                </a:cubicBezTo>
                <a:cubicBezTo>
                  <a:pt x="13094" y="2772"/>
                  <a:pt x="13097" y="2835"/>
                  <a:pt x="13138" y="2873"/>
                </a:cubicBezTo>
                <a:cubicBezTo>
                  <a:pt x="13599" y="3297"/>
                  <a:pt x="13599" y="3297"/>
                  <a:pt x="13599" y="3297"/>
                </a:cubicBezTo>
                <a:cubicBezTo>
                  <a:pt x="13618" y="3315"/>
                  <a:pt x="13642" y="3324"/>
                  <a:pt x="13667" y="3324"/>
                </a:cubicBezTo>
                <a:cubicBezTo>
                  <a:pt x="13669" y="3324"/>
                  <a:pt x="13670" y="3324"/>
                  <a:pt x="13672" y="3324"/>
                </a:cubicBezTo>
                <a:cubicBezTo>
                  <a:pt x="13699" y="3323"/>
                  <a:pt x="13724" y="3311"/>
                  <a:pt x="13742" y="3291"/>
                </a:cubicBezTo>
                <a:cubicBezTo>
                  <a:pt x="14374" y="2590"/>
                  <a:pt x="14374" y="2590"/>
                  <a:pt x="14374" y="2590"/>
                </a:cubicBezTo>
                <a:cubicBezTo>
                  <a:pt x="14419" y="2693"/>
                  <a:pt x="14444" y="2807"/>
                  <a:pt x="14444" y="2926"/>
                </a:cubicBezTo>
                <a:cubicBezTo>
                  <a:pt x="14444" y="3396"/>
                  <a:pt x="14060" y="3778"/>
                  <a:pt x="13589" y="377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63A744D-A551-4373-9815-CBF079E6E7D8}"/>
              </a:ext>
            </a:extLst>
          </p:cNvPr>
          <p:cNvSpPr txBox="1"/>
          <p:nvPr/>
        </p:nvSpPr>
        <p:spPr>
          <a:xfrm>
            <a:off x="3368246" y="487800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1965917217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9F70E6A-91D6-7A17-A517-7DAFB399CD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804A0C-BE85-52A3-142D-204D0652CC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821238-3D0C-14FE-80A2-AB77815320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1666800"/>
            <a:ext cx="3940174" cy="2133600"/>
          </a:xfrm>
        </p:spPr>
        <p:txBody>
          <a:bodyPr/>
          <a:lstStyle/>
          <a:p>
            <a:pPr marL="359410" lvl="1" indent="-359410">
              <a:spcAft>
                <a:spcPts val="1134"/>
              </a:spcAft>
            </a:pPr>
            <a:r>
              <a:rPr lang="en-GB" b="1"/>
              <a:t>Enables you to reduce your carbon footprint now</a:t>
            </a:r>
            <a:endParaRPr lang="en-US"/>
          </a:p>
          <a:p>
            <a:pPr marL="359410" lvl="1" indent="-359410">
              <a:spcAft>
                <a:spcPts val="1134"/>
              </a:spcAft>
            </a:pPr>
            <a:r>
              <a:rPr lang="en-GB" b="1"/>
              <a:t>A flexible solution that lets you choose the CO</a:t>
            </a:r>
            <a:r>
              <a:rPr lang="en-GB" b="1" baseline="-25000"/>
              <a:t>2</a:t>
            </a:r>
            <a:r>
              <a:rPr lang="en-GB" b="1"/>
              <a:t>e intensity reduction that you need</a:t>
            </a:r>
            <a:endParaRPr lang="en-GB" b="1">
              <a:cs typeface="Arial"/>
            </a:endParaRPr>
          </a:p>
          <a:p>
            <a:pPr marL="359410" lvl="1" indent="-359410">
              <a:spcAft>
                <a:spcPts val="1134"/>
              </a:spcAft>
            </a:pPr>
            <a:r>
              <a:rPr lang="en-GB" b="1"/>
              <a:t>Independently </a:t>
            </a:r>
            <a:r>
              <a:rPr lang="en-NL" b="1"/>
              <a:t>assured</a:t>
            </a:r>
            <a:r>
              <a:rPr lang="en-GB" b="1"/>
              <a:t> by DNV</a:t>
            </a:r>
            <a:endParaRPr lang="en-GB" b="1">
              <a:cs typeface="Arial"/>
            </a:endParaRPr>
          </a:p>
          <a:p>
            <a:pPr marL="359410" lvl="1" indent="-359410">
              <a:spcAft>
                <a:spcPts val="1134"/>
              </a:spcAft>
            </a:pPr>
            <a:r>
              <a:rPr lang="en-GB" b="1"/>
              <a:t>CO</a:t>
            </a:r>
            <a:r>
              <a:rPr lang="en-GB" b="1" baseline="-25000"/>
              <a:t>2</a:t>
            </a:r>
            <a:r>
              <a:rPr lang="en-GB" b="1"/>
              <a:t>e savings can be reported as a reduction in scope 3 emissions</a:t>
            </a:r>
            <a:endParaRPr lang="en-GB" b="1">
              <a:cs typeface="Arial"/>
            </a:endParaRP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931A015D-D411-4BAE-4ECE-AA5B6CC50665}"/>
              </a:ext>
            </a:extLst>
          </p:cNvPr>
          <p:cNvSpPr>
            <a:spLocks noEditPoints="1"/>
          </p:cNvSpPr>
          <p:nvPr/>
        </p:nvSpPr>
        <p:spPr bwMode="auto">
          <a:xfrm>
            <a:off x="579717" y="964660"/>
            <a:ext cx="2519096" cy="429778"/>
          </a:xfrm>
          <a:custGeom>
            <a:avLst/>
            <a:gdLst>
              <a:gd name="T0" fmla="*/ 5818 w 5887"/>
              <a:gd name="T1" fmla="*/ 594 h 1004"/>
              <a:gd name="T2" fmla="*/ 5887 w 5887"/>
              <a:gd name="T3" fmla="*/ 607 h 1004"/>
              <a:gd name="T4" fmla="*/ 5638 w 5887"/>
              <a:gd name="T5" fmla="*/ 1002 h 1004"/>
              <a:gd name="T6" fmla="*/ 5646 w 5887"/>
              <a:gd name="T7" fmla="*/ 945 h 1004"/>
              <a:gd name="T8" fmla="*/ 5027 w 5887"/>
              <a:gd name="T9" fmla="*/ 147 h 1004"/>
              <a:gd name="T10" fmla="*/ 4914 w 5887"/>
              <a:gd name="T11" fmla="*/ 373 h 1004"/>
              <a:gd name="T12" fmla="*/ 5068 w 5887"/>
              <a:gd name="T13" fmla="*/ 955 h 1004"/>
              <a:gd name="T14" fmla="*/ 5268 w 5887"/>
              <a:gd name="T15" fmla="*/ 935 h 1004"/>
              <a:gd name="T16" fmla="*/ 5094 w 5887"/>
              <a:gd name="T17" fmla="*/ 373 h 1004"/>
              <a:gd name="T18" fmla="*/ 5094 w 5887"/>
              <a:gd name="T19" fmla="*/ 320 h 1004"/>
              <a:gd name="T20" fmla="*/ 4786 w 5887"/>
              <a:gd name="T21" fmla="*/ 71 h 1004"/>
              <a:gd name="T22" fmla="*/ 4839 w 5887"/>
              <a:gd name="T23" fmla="*/ 129 h 1004"/>
              <a:gd name="T24" fmla="*/ 4752 w 5887"/>
              <a:gd name="T25" fmla="*/ 320 h 1004"/>
              <a:gd name="T26" fmla="*/ 4818 w 5887"/>
              <a:gd name="T27" fmla="*/ 320 h 1004"/>
              <a:gd name="T28" fmla="*/ 4656 w 5887"/>
              <a:gd name="T29" fmla="*/ 933 h 1004"/>
              <a:gd name="T30" fmla="*/ 4172 w 5887"/>
              <a:gd name="T31" fmla="*/ 50 h 1004"/>
              <a:gd name="T32" fmla="*/ 3268 w 5887"/>
              <a:gd name="T33" fmla="*/ 988 h 1004"/>
              <a:gd name="T34" fmla="*/ 3478 w 5887"/>
              <a:gd name="T35" fmla="*/ 362 h 1004"/>
              <a:gd name="T36" fmla="*/ 3729 w 5887"/>
              <a:gd name="T37" fmla="*/ 988 h 1004"/>
              <a:gd name="T38" fmla="*/ 3267 w 5887"/>
              <a:gd name="T39" fmla="*/ 441 h 1004"/>
              <a:gd name="T40" fmla="*/ 3197 w 5887"/>
              <a:gd name="T41" fmla="*/ 320 h 1004"/>
              <a:gd name="T42" fmla="*/ 2763 w 5887"/>
              <a:gd name="T43" fmla="*/ 359 h 1004"/>
              <a:gd name="T44" fmla="*/ 2515 w 5887"/>
              <a:gd name="T45" fmla="*/ 656 h 1004"/>
              <a:gd name="T46" fmla="*/ 2448 w 5887"/>
              <a:gd name="T47" fmla="*/ 660 h 1004"/>
              <a:gd name="T48" fmla="*/ 2764 w 5887"/>
              <a:gd name="T49" fmla="*/ 305 h 1004"/>
              <a:gd name="T50" fmla="*/ 2073 w 5887"/>
              <a:gd name="T51" fmla="*/ 359 h 1004"/>
              <a:gd name="T52" fmla="*/ 1848 w 5887"/>
              <a:gd name="T53" fmla="*/ 780 h 1004"/>
              <a:gd name="T54" fmla="*/ 1831 w 5887"/>
              <a:gd name="T55" fmla="*/ 988 h 1004"/>
              <a:gd name="T56" fmla="*/ 2078 w 5887"/>
              <a:gd name="T57" fmla="*/ 1004 h 1004"/>
              <a:gd name="T58" fmla="*/ 1845 w 5887"/>
              <a:gd name="T59" fmla="*/ 444 h 1004"/>
              <a:gd name="T60" fmla="*/ 1777 w 5887"/>
              <a:gd name="T61" fmla="*/ 0 h 1004"/>
              <a:gd name="T62" fmla="*/ 1831 w 5887"/>
              <a:gd name="T63" fmla="*/ 988 h 1004"/>
              <a:gd name="T64" fmla="*/ 1462 w 5887"/>
              <a:gd name="T65" fmla="*/ 619 h 1004"/>
              <a:gd name="T66" fmla="*/ 1675 w 5887"/>
              <a:gd name="T67" fmla="*/ 372 h 1004"/>
              <a:gd name="T68" fmla="*/ 1458 w 5887"/>
              <a:gd name="T69" fmla="*/ 455 h 1004"/>
              <a:gd name="T70" fmla="*/ 1391 w 5887"/>
              <a:gd name="T71" fmla="*/ 320 h 1004"/>
              <a:gd name="T72" fmla="*/ 1156 w 5887"/>
              <a:gd name="T73" fmla="*/ 774 h 1004"/>
              <a:gd name="T74" fmla="*/ 818 w 5887"/>
              <a:gd name="T75" fmla="*/ 809 h 1004"/>
              <a:gd name="T76" fmla="*/ 1231 w 5887"/>
              <a:gd name="T77" fmla="*/ 988 h 1004"/>
              <a:gd name="T78" fmla="*/ 992 w 5887"/>
              <a:gd name="T79" fmla="*/ 305 h 1004"/>
              <a:gd name="T80" fmla="*/ 985 w 5887"/>
              <a:gd name="T81" fmla="*/ 360 h 1004"/>
              <a:gd name="T82" fmla="*/ 748 w 5887"/>
              <a:gd name="T83" fmla="*/ 820 h 1004"/>
              <a:gd name="T84" fmla="*/ 1161 w 5887"/>
              <a:gd name="T85" fmla="*/ 892 h 1004"/>
              <a:gd name="T86" fmla="*/ 677 w 5887"/>
              <a:gd name="T87" fmla="*/ 902 h 1004"/>
              <a:gd name="T88" fmla="*/ 476 w 5887"/>
              <a:gd name="T89" fmla="*/ 92 h 1004"/>
              <a:gd name="T90" fmla="*/ 475 w 5887"/>
              <a:gd name="T91" fmla="*/ 35 h 1004"/>
              <a:gd name="T92" fmla="*/ 696 w 5887"/>
              <a:gd name="T93" fmla="*/ 955 h 10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5887" h="1004">
                <a:moveTo>
                  <a:pt x="5396" y="594"/>
                </a:moveTo>
                <a:cubicBezTo>
                  <a:pt x="5407" y="491"/>
                  <a:pt x="5471" y="359"/>
                  <a:pt x="5618" y="359"/>
                </a:cubicBezTo>
                <a:cubicBezTo>
                  <a:pt x="5780" y="359"/>
                  <a:pt x="5819" y="501"/>
                  <a:pt x="5818" y="594"/>
                </a:cubicBezTo>
                <a:lnTo>
                  <a:pt x="5396" y="594"/>
                </a:lnTo>
                <a:close/>
                <a:moveTo>
                  <a:pt x="5884" y="647"/>
                </a:moveTo>
                <a:cubicBezTo>
                  <a:pt x="5887" y="636"/>
                  <a:pt x="5887" y="625"/>
                  <a:pt x="5887" y="607"/>
                </a:cubicBezTo>
                <a:cubicBezTo>
                  <a:pt x="5887" y="511"/>
                  <a:pt x="5845" y="305"/>
                  <a:pt x="5627" y="305"/>
                </a:cubicBezTo>
                <a:cubicBezTo>
                  <a:pt x="5454" y="305"/>
                  <a:pt x="5326" y="444"/>
                  <a:pt x="5326" y="667"/>
                </a:cubicBezTo>
                <a:cubicBezTo>
                  <a:pt x="5326" y="863"/>
                  <a:pt x="5446" y="1002"/>
                  <a:pt x="5638" y="1002"/>
                </a:cubicBezTo>
                <a:cubicBezTo>
                  <a:pt x="5755" y="1002"/>
                  <a:pt x="5823" y="974"/>
                  <a:pt x="5848" y="961"/>
                </a:cubicBezTo>
                <a:cubicBezTo>
                  <a:pt x="5831" y="908"/>
                  <a:pt x="5831" y="908"/>
                  <a:pt x="5831" y="908"/>
                </a:cubicBezTo>
                <a:cubicBezTo>
                  <a:pt x="5794" y="926"/>
                  <a:pt x="5744" y="945"/>
                  <a:pt x="5646" y="945"/>
                </a:cubicBezTo>
                <a:cubicBezTo>
                  <a:pt x="5508" y="945"/>
                  <a:pt x="5391" y="862"/>
                  <a:pt x="5391" y="647"/>
                </a:cubicBezTo>
                <a:lnTo>
                  <a:pt x="5884" y="647"/>
                </a:lnTo>
                <a:close/>
                <a:moveTo>
                  <a:pt x="5027" y="147"/>
                </a:moveTo>
                <a:cubicBezTo>
                  <a:pt x="5027" y="320"/>
                  <a:pt x="5027" y="320"/>
                  <a:pt x="5027" y="320"/>
                </a:cubicBezTo>
                <a:cubicBezTo>
                  <a:pt x="4914" y="320"/>
                  <a:pt x="4914" y="320"/>
                  <a:pt x="4914" y="320"/>
                </a:cubicBezTo>
                <a:cubicBezTo>
                  <a:pt x="4914" y="373"/>
                  <a:pt x="4914" y="373"/>
                  <a:pt x="4914" y="373"/>
                </a:cubicBezTo>
                <a:cubicBezTo>
                  <a:pt x="5027" y="373"/>
                  <a:pt x="5027" y="373"/>
                  <a:pt x="5027" y="373"/>
                </a:cubicBezTo>
                <a:cubicBezTo>
                  <a:pt x="5027" y="796"/>
                  <a:pt x="5027" y="796"/>
                  <a:pt x="5027" y="796"/>
                </a:cubicBezTo>
                <a:cubicBezTo>
                  <a:pt x="5027" y="864"/>
                  <a:pt x="5038" y="920"/>
                  <a:pt x="5068" y="955"/>
                </a:cubicBezTo>
                <a:cubicBezTo>
                  <a:pt x="5094" y="987"/>
                  <a:pt x="5134" y="1002"/>
                  <a:pt x="5183" y="1002"/>
                </a:cubicBezTo>
                <a:cubicBezTo>
                  <a:pt x="5223" y="1002"/>
                  <a:pt x="5254" y="995"/>
                  <a:pt x="5276" y="987"/>
                </a:cubicBezTo>
                <a:cubicBezTo>
                  <a:pt x="5268" y="935"/>
                  <a:pt x="5268" y="935"/>
                  <a:pt x="5268" y="935"/>
                </a:cubicBezTo>
                <a:cubicBezTo>
                  <a:pt x="5251" y="941"/>
                  <a:pt x="5226" y="947"/>
                  <a:pt x="5191" y="947"/>
                </a:cubicBezTo>
                <a:cubicBezTo>
                  <a:pt x="5120" y="947"/>
                  <a:pt x="5094" y="892"/>
                  <a:pt x="5094" y="807"/>
                </a:cubicBezTo>
                <a:cubicBezTo>
                  <a:pt x="5094" y="373"/>
                  <a:pt x="5094" y="373"/>
                  <a:pt x="5094" y="373"/>
                </a:cubicBezTo>
                <a:cubicBezTo>
                  <a:pt x="5284" y="373"/>
                  <a:pt x="5284" y="373"/>
                  <a:pt x="5284" y="373"/>
                </a:cubicBezTo>
                <a:cubicBezTo>
                  <a:pt x="5284" y="320"/>
                  <a:pt x="5284" y="320"/>
                  <a:pt x="5284" y="320"/>
                </a:cubicBezTo>
                <a:cubicBezTo>
                  <a:pt x="5094" y="320"/>
                  <a:pt x="5094" y="320"/>
                  <a:pt x="5094" y="320"/>
                </a:cubicBezTo>
                <a:cubicBezTo>
                  <a:pt x="5094" y="127"/>
                  <a:pt x="5094" y="127"/>
                  <a:pt x="5094" y="127"/>
                </a:cubicBezTo>
                <a:lnTo>
                  <a:pt x="5027" y="147"/>
                </a:lnTo>
                <a:close/>
                <a:moveTo>
                  <a:pt x="4786" y="71"/>
                </a:moveTo>
                <a:cubicBezTo>
                  <a:pt x="4755" y="71"/>
                  <a:pt x="4732" y="99"/>
                  <a:pt x="4732" y="129"/>
                </a:cubicBezTo>
                <a:cubicBezTo>
                  <a:pt x="4732" y="160"/>
                  <a:pt x="4752" y="186"/>
                  <a:pt x="4783" y="186"/>
                </a:cubicBezTo>
                <a:cubicBezTo>
                  <a:pt x="4818" y="186"/>
                  <a:pt x="4839" y="160"/>
                  <a:pt x="4839" y="129"/>
                </a:cubicBezTo>
                <a:cubicBezTo>
                  <a:pt x="4839" y="97"/>
                  <a:pt x="4818" y="71"/>
                  <a:pt x="4786" y="71"/>
                </a:cubicBezTo>
                <a:moveTo>
                  <a:pt x="4818" y="320"/>
                </a:moveTo>
                <a:cubicBezTo>
                  <a:pt x="4752" y="320"/>
                  <a:pt x="4752" y="320"/>
                  <a:pt x="4752" y="320"/>
                </a:cubicBezTo>
                <a:cubicBezTo>
                  <a:pt x="4752" y="988"/>
                  <a:pt x="4752" y="988"/>
                  <a:pt x="4752" y="988"/>
                </a:cubicBezTo>
                <a:cubicBezTo>
                  <a:pt x="4818" y="988"/>
                  <a:pt x="4818" y="988"/>
                  <a:pt x="4818" y="988"/>
                </a:cubicBezTo>
                <a:lnTo>
                  <a:pt x="4818" y="320"/>
                </a:lnTo>
                <a:close/>
                <a:moveTo>
                  <a:pt x="4172" y="988"/>
                </a:moveTo>
                <a:cubicBezTo>
                  <a:pt x="4656" y="988"/>
                  <a:pt x="4656" y="988"/>
                  <a:pt x="4656" y="988"/>
                </a:cubicBezTo>
                <a:cubicBezTo>
                  <a:pt x="4656" y="933"/>
                  <a:pt x="4656" y="933"/>
                  <a:pt x="4656" y="933"/>
                </a:cubicBezTo>
                <a:cubicBezTo>
                  <a:pt x="4237" y="933"/>
                  <a:pt x="4237" y="933"/>
                  <a:pt x="4237" y="933"/>
                </a:cubicBezTo>
                <a:cubicBezTo>
                  <a:pt x="4237" y="50"/>
                  <a:pt x="4237" y="50"/>
                  <a:pt x="4237" y="50"/>
                </a:cubicBezTo>
                <a:cubicBezTo>
                  <a:pt x="4172" y="50"/>
                  <a:pt x="4172" y="50"/>
                  <a:pt x="4172" y="50"/>
                </a:cubicBezTo>
                <a:lnTo>
                  <a:pt x="4172" y="988"/>
                </a:lnTo>
                <a:close/>
                <a:moveTo>
                  <a:pt x="3203" y="988"/>
                </a:moveTo>
                <a:cubicBezTo>
                  <a:pt x="3268" y="988"/>
                  <a:pt x="3268" y="988"/>
                  <a:pt x="3268" y="988"/>
                </a:cubicBezTo>
                <a:cubicBezTo>
                  <a:pt x="3268" y="575"/>
                  <a:pt x="3268" y="575"/>
                  <a:pt x="3268" y="575"/>
                </a:cubicBezTo>
                <a:cubicBezTo>
                  <a:pt x="3268" y="554"/>
                  <a:pt x="3272" y="532"/>
                  <a:pt x="3278" y="515"/>
                </a:cubicBezTo>
                <a:cubicBezTo>
                  <a:pt x="3304" y="429"/>
                  <a:pt x="3384" y="362"/>
                  <a:pt x="3478" y="362"/>
                </a:cubicBezTo>
                <a:cubicBezTo>
                  <a:pt x="3616" y="362"/>
                  <a:pt x="3664" y="472"/>
                  <a:pt x="3664" y="593"/>
                </a:cubicBezTo>
                <a:cubicBezTo>
                  <a:pt x="3664" y="988"/>
                  <a:pt x="3664" y="988"/>
                  <a:pt x="3664" y="988"/>
                </a:cubicBezTo>
                <a:cubicBezTo>
                  <a:pt x="3729" y="988"/>
                  <a:pt x="3729" y="988"/>
                  <a:pt x="3729" y="988"/>
                </a:cubicBezTo>
                <a:cubicBezTo>
                  <a:pt x="3729" y="587"/>
                  <a:pt x="3729" y="587"/>
                  <a:pt x="3729" y="587"/>
                </a:cubicBezTo>
                <a:cubicBezTo>
                  <a:pt x="3729" y="337"/>
                  <a:pt x="3561" y="305"/>
                  <a:pt x="3496" y="305"/>
                </a:cubicBezTo>
                <a:cubicBezTo>
                  <a:pt x="3386" y="305"/>
                  <a:pt x="3303" y="366"/>
                  <a:pt x="3267" y="441"/>
                </a:cubicBezTo>
                <a:cubicBezTo>
                  <a:pt x="3264" y="441"/>
                  <a:pt x="3264" y="441"/>
                  <a:pt x="3264" y="441"/>
                </a:cubicBezTo>
                <a:cubicBezTo>
                  <a:pt x="3258" y="320"/>
                  <a:pt x="3258" y="320"/>
                  <a:pt x="3258" y="320"/>
                </a:cubicBezTo>
                <a:cubicBezTo>
                  <a:pt x="3197" y="320"/>
                  <a:pt x="3197" y="320"/>
                  <a:pt x="3197" y="320"/>
                </a:cubicBezTo>
                <a:cubicBezTo>
                  <a:pt x="3200" y="373"/>
                  <a:pt x="3203" y="419"/>
                  <a:pt x="3203" y="480"/>
                </a:cubicBezTo>
                <a:lnTo>
                  <a:pt x="3203" y="988"/>
                </a:lnTo>
                <a:close/>
                <a:moveTo>
                  <a:pt x="2763" y="359"/>
                </a:moveTo>
                <a:cubicBezTo>
                  <a:pt x="2938" y="359"/>
                  <a:pt x="3008" y="529"/>
                  <a:pt x="3008" y="651"/>
                </a:cubicBezTo>
                <a:cubicBezTo>
                  <a:pt x="3008" y="823"/>
                  <a:pt x="2898" y="948"/>
                  <a:pt x="2758" y="948"/>
                </a:cubicBezTo>
                <a:cubicBezTo>
                  <a:pt x="2622" y="948"/>
                  <a:pt x="2515" y="823"/>
                  <a:pt x="2515" y="656"/>
                </a:cubicBezTo>
                <a:cubicBezTo>
                  <a:pt x="2515" y="512"/>
                  <a:pt x="2593" y="359"/>
                  <a:pt x="2763" y="359"/>
                </a:cubicBezTo>
                <a:moveTo>
                  <a:pt x="2764" y="305"/>
                </a:moveTo>
                <a:cubicBezTo>
                  <a:pt x="2598" y="305"/>
                  <a:pt x="2448" y="430"/>
                  <a:pt x="2448" y="660"/>
                </a:cubicBezTo>
                <a:cubicBezTo>
                  <a:pt x="2448" y="869"/>
                  <a:pt x="2582" y="1004"/>
                  <a:pt x="2754" y="1004"/>
                </a:cubicBezTo>
                <a:cubicBezTo>
                  <a:pt x="2903" y="1004"/>
                  <a:pt x="3075" y="898"/>
                  <a:pt x="3075" y="647"/>
                </a:cubicBezTo>
                <a:cubicBezTo>
                  <a:pt x="3075" y="443"/>
                  <a:pt x="2949" y="305"/>
                  <a:pt x="2764" y="305"/>
                </a:cubicBezTo>
                <a:moveTo>
                  <a:pt x="1842" y="597"/>
                </a:moveTo>
                <a:cubicBezTo>
                  <a:pt x="1842" y="573"/>
                  <a:pt x="1846" y="555"/>
                  <a:pt x="1851" y="539"/>
                </a:cubicBezTo>
                <a:cubicBezTo>
                  <a:pt x="1883" y="427"/>
                  <a:pt x="1976" y="359"/>
                  <a:pt x="2073" y="359"/>
                </a:cubicBezTo>
                <a:cubicBezTo>
                  <a:pt x="2225" y="359"/>
                  <a:pt x="2309" y="495"/>
                  <a:pt x="2309" y="649"/>
                </a:cubicBezTo>
                <a:cubicBezTo>
                  <a:pt x="2309" y="823"/>
                  <a:pt x="2221" y="948"/>
                  <a:pt x="2068" y="948"/>
                </a:cubicBezTo>
                <a:cubicBezTo>
                  <a:pt x="1963" y="948"/>
                  <a:pt x="1877" y="881"/>
                  <a:pt x="1848" y="780"/>
                </a:cubicBezTo>
                <a:cubicBezTo>
                  <a:pt x="1845" y="763"/>
                  <a:pt x="1842" y="746"/>
                  <a:pt x="1842" y="731"/>
                </a:cubicBezTo>
                <a:lnTo>
                  <a:pt x="1842" y="597"/>
                </a:lnTo>
                <a:close/>
                <a:moveTo>
                  <a:pt x="1831" y="988"/>
                </a:moveTo>
                <a:cubicBezTo>
                  <a:pt x="1835" y="867"/>
                  <a:pt x="1835" y="867"/>
                  <a:pt x="1835" y="867"/>
                </a:cubicBezTo>
                <a:cubicBezTo>
                  <a:pt x="1838" y="867"/>
                  <a:pt x="1838" y="867"/>
                  <a:pt x="1838" y="867"/>
                </a:cubicBezTo>
                <a:cubicBezTo>
                  <a:pt x="1891" y="961"/>
                  <a:pt x="1970" y="1004"/>
                  <a:pt x="2078" y="1004"/>
                </a:cubicBezTo>
                <a:cubicBezTo>
                  <a:pt x="2224" y="1004"/>
                  <a:pt x="2376" y="885"/>
                  <a:pt x="2376" y="647"/>
                </a:cubicBezTo>
                <a:cubicBezTo>
                  <a:pt x="2376" y="445"/>
                  <a:pt x="2259" y="305"/>
                  <a:pt x="2090" y="305"/>
                </a:cubicBezTo>
                <a:cubicBezTo>
                  <a:pt x="1972" y="305"/>
                  <a:pt x="1890" y="358"/>
                  <a:pt x="1845" y="444"/>
                </a:cubicBezTo>
                <a:cubicBezTo>
                  <a:pt x="1842" y="444"/>
                  <a:pt x="1842" y="444"/>
                  <a:pt x="1842" y="444"/>
                </a:cubicBezTo>
                <a:cubicBezTo>
                  <a:pt x="1842" y="0"/>
                  <a:pt x="1842" y="0"/>
                  <a:pt x="1842" y="0"/>
                </a:cubicBezTo>
                <a:cubicBezTo>
                  <a:pt x="1777" y="0"/>
                  <a:pt x="1777" y="0"/>
                  <a:pt x="1777" y="0"/>
                </a:cubicBezTo>
                <a:cubicBezTo>
                  <a:pt x="1777" y="832"/>
                  <a:pt x="1777" y="832"/>
                  <a:pt x="1777" y="832"/>
                </a:cubicBezTo>
                <a:cubicBezTo>
                  <a:pt x="1777" y="883"/>
                  <a:pt x="1774" y="941"/>
                  <a:pt x="1771" y="988"/>
                </a:cubicBezTo>
                <a:lnTo>
                  <a:pt x="1831" y="988"/>
                </a:lnTo>
                <a:close/>
                <a:moveTo>
                  <a:pt x="1397" y="988"/>
                </a:moveTo>
                <a:cubicBezTo>
                  <a:pt x="1462" y="988"/>
                  <a:pt x="1462" y="988"/>
                  <a:pt x="1462" y="988"/>
                </a:cubicBezTo>
                <a:cubicBezTo>
                  <a:pt x="1462" y="619"/>
                  <a:pt x="1462" y="619"/>
                  <a:pt x="1462" y="619"/>
                </a:cubicBezTo>
                <a:cubicBezTo>
                  <a:pt x="1462" y="597"/>
                  <a:pt x="1465" y="575"/>
                  <a:pt x="1468" y="555"/>
                </a:cubicBezTo>
                <a:cubicBezTo>
                  <a:pt x="1486" y="448"/>
                  <a:pt x="1551" y="369"/>
                  <a:pt x="1643" y="369"/>
                </a:cubicBezTo>
                <a:cubicBezTo>
                  <a:pt x="1656" y="369"/>
                  <a:pt x="1665" y="369"/>
                  <a:pt x="1675" y="372"/>
                </a:cubicBezTo>
                <a:cubicBezTo>
                  <a:pt x="1675" y="308"/>
                  <a:pt x="1675" y="308"/>
                  <a:pt x="1675" y="308"/>
                </a:cubicBezTo>
                <a:cubicBezTo>
                  <a:pt x="1667" y="306"/>
                  <a:pt x="1657" y="305"/>
                  <a:pt x="1649" y="305"/>
                </a:cubicBezTo>
                <a:cubicBezTo>
                  <a:pt x="1557" y="305"/>
                  <a:pt x="1487" y="372"/>
                  <a:pt x="1458" y="455"/>
                </a:cubicBezTo>
                <a:cubicBezTo>
                  <a:pt x="1455" y="455"/>
                  <a:pt x="1455" y="455"/>
                  <a:pt x="1455" y="455"/>
                </a:cubicBezTo>
                <a:cubicBezTo>
                  <a:pt x="1452" y="320"/>
                  <a:pt x="1452" y="320"/>
                  <a:pt x="1452" y="320"/>
                </a:cubicBezTo>
                <a:cubicBezTo>
                  <a:pt x="1391" y="320"/>
                  <a:pt x="1391" y="320"/>
                  <a:pt x="1391" y="320"/>
                </a:cubicBezTo>
                <a:cubicBezTo>
                  <a:pt x="1394" y="384"/>
                  <a:pt x="1397" y="454"/>
                  <a:pt x="1397" y="521"/>
                </a:cubicBezTo>
                <a:lnTo>
                  <a:pt x="1397" y="988"/>
                </a:lnTo>
                <a:close/>
                <a:moveTo>
                  <a:pt x="1156" y="774"/>
                </a:moveTo>
                <a:cubicBezTo>
                  <a:pt x="1156" y="786"/>
                  <a:pt x="1153" y="800"/>
                  <a:pt x="1149" y="814"/>
                </a:cubicBezTo>
                <a:cubicBezTo>
                  <a:pt x="1125" y="880"/>
                  <a:pt x="1063" y="948"/>
                  <a:pt x="951" y="948"/>
                </a:cubicBezTo>
                <a:cubicBezTo>
                  <a:pt x="882" y="948"/>
                  <a:pt x="818" y="905"/>
                  <a:pt x="818" y="809"/>
                </a:cubicBezTo>
                <a:cubicBezTo>
                  <a:pt x="818" y="649"/>
                  <a:pt x="1010" y="626"/>
                  <a:pt x="1156" y="631"/>
                </a:cubicBezTo>
                <a:lnTo>
                  <a:pt x="1156" y="774"/>
                </a:lnTo>
                <a:close/>
                <a:moveTo>
                  <a:pt x="1231" y="988"/>
                </a:moveTo>
                <a:cubicBezTo>
                  <a:pt x="1224" y="937"/>
                  <a:pt x="1221" y="883"/>
                  <a:pt x="1221" y="830"/>
                </a:cubicBezTo>
                <a:cubicBezTo>
                  <a:pt x="1221" y="569"/>
                  <a:pt x="1221" y="569"/>
                  <a:pt x="1221" y="569"/>
                </a:cubicBezTo>
                <a:cubicBezTo>
                  <a:pt x="1221" y="450"/>
                  <a:pt x="1185" y="305"/>
                  <a:pt x="992" y="305"/>
                </a:cubicBezTo>
                <a:cubicBezTo>
                  <a:pt x="932" y="305"/>
                  <a:pt x="857" y="321"/>
                  <a:pt x="797" y="362"/>
                </a:cubicBezTo>
                <a:cubicBezTo>
                  <a:pt x="818" y="411"/>
                  <a:pt x="818" y="411"/>
                  <a:pt x="818" y="411"/>
                </a:cubicBezTo>
                <a:cubicBezTo>
                  <a:pt x="865" y="376"/>
                  <a:pt x="926" y="360"/>
                  <a:pt x="985" y="360"/>
                </a:cubicBezTo>
                <a:cubicBezTo>
                  <a:pt x="1143" y="359"/>
                  <a:pt x="1156" y="491"/>
                  <a:pt x="1156" y="558"/>
                </a:cubicBezTo>
                <a:cubicBezTo>
                  <a:pt x="1156" y="575"/>
                  <a:pt x="1156" y="575"/>
                  <a:pt x="1156" y="575"/>
                </a:cubicBezTo>
                <a:cubicBezTo>
                  <a:pt x="884" y="572"/>
                  <a:pt x="748" y="665"/>
                  <a:pt x="748" y="820"/>
                </a:cubicBezTo>
                <a:cubicBezTo>
                  <a:pt x="748" y="909"/>
                  <a:pt x="811" y="1004"/>
                  <a:pt x="944" y="1004"/>
                </a:cubicBezTo>
                <a:cubicBezTo>
                  <a:pt x="1051" y="1004"/>
                  <a:pt x="1125" y="944"/>
                  <a:pt x="1157" y="892"/>
                </a:cubicBezTo>
                <a:cubicBezTo>
                  <a:pt x="1161" y="892"/>
                  <a:pt x="1161" y="892"/>
                  <a:pt x="1161" y="892"/>
                </a:cubicBezTo>
                <a:cubicBezTo>
                  <a:pt x="1171" y="988"/>
                  <a:pt x="1171" y="988"/>
                  <a:pt x="1171" y="988"/>
                </a:cubicBezTo>
                <a:lnTo>
                  <a:pt x="1231" y="988"/>
                </a:lnTo>
                <a:close/>
                <a:moveTo>
                  <a:pt x="677" y="902"/>
                </a:moveTo>
                <a:cubicBezTo>
                  <a:pt x="624" y="929"/>
                  <a:pt x="546" y="945"/>
                  <a:pt x="465" y="945"/>
                </a:cubicBezTo>
                <a:cubicBezTo>
                  <a:pt x="215" y="945"/>
                  <a:pt x="68" y="781"/>
                  <a:pt x="68" y="526"/>
                </a:cubicBezTo>
                <a:cubicBezTo>
                  <a:pt x="68" y="256"/>
                  <a:pt x="223" y="92"/>
                  <a:pt x="476" y="92"/>
                </a:cubicBezTo>
                <a:cubicBezTo>
                  <a:pt x="556" y="92"/>
                  <a:pt x="624" y="108"/>
                  <a:pt x="671" y="132"/>
                </a:cubicBezTo>
                <a:cubicBezTo>
                  <a:pt x="694" y="76"/>
                  <a:pt x="694" y="76"/>
                  <a:pt x="694" y="76"/>
                </a:cubicBezTo>
                <a:cubicBezTo>
                  <a:pt x="664" y="61"/>
                  <a:pt x="595" y="35"/>
                  <a:pt x="475" y="35"/>
                </a:cubicBezTo>
                <a:cubicBezTo>
                  <a:pt x="180" y="35"/>
                  <a:pt x="0" y="246"/>
                  <a:pt x="0" y="525"/>
                </a:cubicBezTo>
                <a:cubicBezTo>
                  <a:pt x="0" y="858"/>
                  <a:pt x="217" y="1002"/>
                  <a:pt x="444" y="1002"/>
                </a:cubicBezTo>
                <a:cubicBezTo>
                  <a:pt x="559" y="1002"/>
                  <a:pt x="649" y="980"/>
                  <a:pt x="696" y="955"/>
                </a:cubicBezTo>
                <a:lnTo>
                  <a:pt x="677" y="90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reeform 6">
            <a:extLst>
              <a:ext uri="{FF2B5EF4-FFF2-40B4-BE49-F238E27FC236}">
                <a16:creationId xmlns:a16="http://schemas.microsoft.com/office/drawing/2014/main" id="{7341FCE0-9942-146A-0778-9BDC1FA0054A}"/>
              </a:ext>
            </a:extLst>
          </p:cNvPr>
          <p:cNvSpPr>
            <a:spLocks noEditPoints="1"/>
          </p:cNvSpPr>
          <p:nvPr/>
        </p:nvSpPr>
        <p:spPr bwMode="auto">
          <a:xfrm>
            <a:off x="557213" y="425452"/>
            <a:ext cx="1901346" cy="424483"/>
          </a:xfrm>
          <a:custGeom>
            <a:avLst/>
            <a:gdLst>
              <a:gd name="T0" fmla="*/ 737 w 4444"/>
              <a:gd name="T1" fmla="*/ 978 h 992"/>
              <a:gd name="T2" fmla="*/ 288 w 4444"/>
              <a:gd name="T3" fmla="*/ 803 h 992"/>
              <a:gd name="T4" fmla="*/ 730 w 4444"/>
              <a:gd name="T5" fmla="*/ 161 h 992"/>
              <a:gd name="T6" fmla="*/ 41 w 4444"/>
              <a:gd name="T7" fmla="*/ 38 h 992"/>
              <a:gd name="T8" fmla="*/ 452 w 4444"/>
              <a:gd name="T9" fmla="*/ 214 h 992"/>
              <a:gd name="T10" fmla="*/ 0 w 4444"/>
              <a:gd name="T11" fmla="*/ 864 h 992"/>
              <a:gd name="T12" fmla="*/ 1403 w 4444"/>
              <a:gd name="T13" fmla="*/ 705 h 992"/>
              <a:gd name="T14" fmla="*/ 1103 w 4444"/>
              <a:gd name="T15" fmla="*/ 281 h 992"/>
              <a:gd name="T16" fmla="*/ 1123 w 4444"/>
              <a:gd name="T17" fmla="*/ 992 h 992"/>
              <a:gd name="T18" fmla="*/ 1344 w 4444"/>
              <a:gd name="T19" fmla="*/ 805 h 992"/>
              <a:gd name="T20" fmla="*/ 959 w 4444"/>
              <a:gd name="T21" fmla="*/ 705 h 992"/>
              <a:gd name="T22" fmla="*/ 958 w 4444"/>
              <a:gd name="T23" fmla="*/ 560 h 992"/>
              <a:gd name="T24" fmla="*/ 1211 w 4444"/>
              <a:gd name="T25" fmla="*/ 560 h 992"/>
              <a:gd name="T26" fmla="*/ 1454 w 4444"/>
              <a:gd name="T27" fmla="*/ 978 h 992"/>
              <a:gd name="T28" fmla="*/ 1668 w 4444"/>
              <a:gd name="T29" fmla="*/ 634 h 992"/>
              <a:gd name="T30" fmla="*/ 1818 w 4444"/>
              <a:gd name="T31" fmla="*/ 479 h 992"/>
              <a:gd name="T32" fmla="*/ 1876 w 4444"/>
              <a:gd name="T33" fmla="*/ 285 h 992"/>
              <a:gd name="T34" fmla="*/ 1645 w 4444"/>
              <a:gd name="T35" fmla="*/ 423 h 992"/>
              <a:gd name="T36" fmla="*/ 1631 w 4444"/>
              <a:gd name="T37" fmla="*/ 296 h 992"/>
              <a:gd name="T38" fmla="*/ 1454 w 4444"/>
              <a:gd name="T39" fmla="*/ 521 h 992"/>
              <a:gd name="T40" fmla="*/ 2527 w 4444"/>
              <a:gd name="T41" fmla="*/ 705 h 992"/>
              <a:gd name="T42" fmla="*/ 2227 w 4444"/>
              <a:gd name="T43" fmla="*/ 281 h 992"/>
              <a:gd name="T44" fmla="*/ 2247 w 4444"/>
              <a:gd name="T45" fmla="*/ 992 h 992"/>
              <a:gd name="T46" fmla="*/ 2468 w 4444"/>
              <a:gd name="T47" fmla="*/ 805 h 992"/>
              <a:gd name="T48" fmla="*/ 2083 w 4444"/>
              <a:gd name="T49" fmla="*/ 705 h 992"/>
              <a:gd name="T50" fmla="*/ 2082 w 4444"/>
              <a:gd name="T51" fmla="*/ 560 h 992"/>
              <a:gd name="T52" fmla="*/ 2335 w 4444"/>
              <a:gd name="T53" fmla="*/ 560 h 992"/>
              <a:gd name="T54" fmla="*/ 2570 w 4444"/>
              <a:gd name="T55" fmla="*/ 978 h 992"/>
              <a:gd name="T56" fmla="*/ 2779 w 4444"/>
              <a:gd name="T57" fmla="*/ 582 h 992"/>
              <a:gd name="T58" fmla="*/ 2887 w 4444"/>
              <a:gd name="T59" fmla="*/ 452 h 992"/>
              <a:gd name="T60" fmla="*/ 2987 w 4444"/>
              <a:gd name="T61" fmla="*/ 978 h 992"/>
              <a:gd name="T62" fmla="*/ 3196 w 4444"/>
              <a:gd name="T63" fmla="*/ 579 h 992"/>
              <a:gd name="T64" fmla="*/ 3303 w 4444"/>
              <a:gd name="T65" fmla="*/ 452 h 992"/>
              <a:gd name="T66" fmla="*/ 3404 w 4444"/>
              <a:gd name="T67" fmla="*/ 978 h 992"/>
              <a:gd name="T68" fmla="*/ 3613 w 4444"/>
              <a:gd name="T69" fmla="*/ 577 h 992"/>
              <a:gd name="T70" fmla="*/ 3249 w 4444"/>
              <a:gd name="T71" fmla="*/ 314 h 992"/>
              <a:gd name="T72" fmla="*/ 3156 w 4444"/>
              <a:gd name="T73" fmla="*/ 398 h 992"/>
              <a:gd name="T74" fmla="*/ 2759 w 4444"/>
              <a:gd name="T75" fmla="*/ 390 h 992"/>
              <a:gd name="T76" fmla="*/ 2747 w 4444"/>
              <a:gd name="T77" fmla="*/ 296 h 992"/>
              <a:gd name="T78" fmla="*/ 2570 w 4444"/>
              <a:gd name="T79" fmla="*/ 514 h 992"/>
              <a:gd name="T80" fmla="*/ 3883 w 4444"/>
              <a:gd name="T81" fmla="*/ 296 h 992"/>
              <a:gd name="T82" fmla="*/ 3669 w 4444"/>
              <a:gd name="T83" fmla="*/ 978 h 992"/>
              <a:gd name="T84" fmla="*/ 3883 w 4444"/>
              <a:gd name="T85" fmla="*/ 296 h 992"/>
              <a:gd name="T86" fmla="*/ 3890 w 4444"/>
              <a:gd name="T87" fmla="*/ 106 h 992"/>
              <a:gd name="T88" fmla="*/ 3663 w 4444"/>
              <a:gd name="T89" fmla="*/ 106 h 992"/>
              <a:gd name="T90" fmla="*/ 3776 w 4444"/>
              <a:gd name="T91" fmla="*/ 212 h 992"/>
              <a:gd name="T92" fmla="*/ 4146 w 4444"/>
              <a:gd name="T93" fmla="*/ 992 h 992"/>
              <a:gd name="T94" fmla="*/ 4258 w 4444"/>
              <a:gd name="T95" fmla="*/ 561 h 992"/>
              <a:gd name="T96" fmla="*/ 4228 w 4444"/>
              <a:gd name="T97" fmla="*/ 429 h 992"/>
              <a:gd name="T98" fmla="*/ 4414 w 4444"/>
              <a:gd name="T99" fmla="*/ 321 h 992"/>
              <a:gd name="T100" fmla="*/ 3941 w 4444"/>
              <a:gd name="T101" fmla="*/ 505 h 992"/>
              <a:gd name="T102" fmla="*/ 4238 w 4444"/>
              <a:gd name="T103" fmla="*/ 787 h 992"/>
              <a:gd name="T104" fmla="*/ 3962 w 4444"/>
              <a:gd name="T105" fmla="*/ 793 h 9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444" h="992">
                <a:moveTo>
                  <a:pt x="0" y="978"/>
                </a:moveTo>
                <a:cubicBezTo>
                  <a:pt x="737" y="978"/>
                  <a:pt x="737" y="978"/>
                  <a:pt x="737" y="978"/>
                </a:cubicBezTo>
                <a:cubicBezTo>
                  <a:pt x="737" y="803"/>
                  <a:pt x="737" y="803"/>
                  <a:pt x="737" y="803"/>
                </a:cubicBezTo>
                <a:cubicBezTo>
                  <a:pt x="288" y="803"/>
                  <a:pt x="288" y="803"/>
                  <a:pt x="288" y="803"/>
                </a:cubicBezTo>
                <a:cubicBezTo>
                  <a:pt x="288" y="797"/>
                  <a:pt x="288" y="797"/>
                  <a:pt x="288" y="797"/>
                </a:cubicBezTo>
                <a:cubicBezTo>
                  <a:pt x="730" y="161"/>
                  <a:pt x="730" y="161"/>
                  <a:pt x="730" y="161"/>
                </a:cubicBezTo>
                <a:cubicBezTo>
                  <a:pt x="730" y="38"/>
                  <a:pt x="730" y="38"/>
                  <a:pt x="730" y="38"/>
                </a:cubicBezTo>
                <a:cubicBezTo>
                  <a:pt x="41" y="38"/>
                  <a:pt x="41" y="38"/>
                  <a:pt x="41" y="38"/>
                </a:cubicBezTo>
                <a:cubicBezTo>
                  <a:pt x="41" y="214"/>
                  <a:pt x="41" y="214"/>
                  <a:pt x="41" y="214"/>
                </a:cubicBezTo>
                <a:cubicBezTo>
                  <a:pt x="452" y="214"/>
                  <a:pt x="452" y="214"/>
                  <a:pt x="452" y="214"/>
                </a:cubicBezTo>
                <a:cubicBezTo>
                  <a:pt x="452" y="218"/>
                  <a:pt x="452" y="218"/>
                  <a:pt x="452" y="218"/>
                </a:cubicBezTo>
                <a:cubicBezTo>
                  <a:pt x="0" y="864"/>
                  <a:pt x="0" y="864"/>
                  <a:pt x="0" y="864"/>
                </a:cubicBezTo>
                <a:lnTo>
                  <a:pt x="0" y="978"/>
                </a:lnTo>
                <a:close/>
                <a:moveTo>
                  <a:pt x="1403" y="705"/>
                </a:moveTo>
                <a:cubicBezTo>
                  <a:pt x="1406" y="690"/>
                  <a:pt x="1410" y="657"/>
                  <a:pt x="1410" y="621"/>
                </a:cubicBezTo>
                <a:cubicBezTo>
                  <a:pt x="1410" y="452"/>
                  <a:pt x="1326" y="281"/>
                  <a:pt x="1103" y="281"/>
                </a:cubicBezTo>
                <a:cubicBezTo>
                  <a:pt x="865" y="281"/>
                  <a:pt x="755" y="472"/>
                  <a:pt x="755" y="645"/>
                </a:cubicBezTo>
                <a:cubicBezTo>
                  <a:pt x="755" y="858"/>
                  <a:pt x="889" y="992"/>
                  <a:pt x="1123" y="992"/>
                </a:cubicBezTo>
                <a:cubicBezTo>
                  <a:pt x="1216" y="992"/>
                  <a:pt x="1302" y="978"/>
                  <a:pt x="1372" y="949"/>
                </a:cubicBezTo>
                <a:cubicBezTo>
                  <a:pt x="1344" y="805"/>
                  <a:pt x="1344" y="805"/>
                  <a:pt x="1344" y="805"/>
                </a:cubicBezTo>
                <a:cubicBezTo>
                  <a:pt x="1286" y="825"/>
                  <a:pt x="1227" y="835"/>
                  <a:pt x="1154" y="835"/>
                </a:cubicBezTo>
                <a:cubicBezTo>
                  <a:pt x="1054" y="835"/>
                  <a:pt x="966" y="793"/>
                  <a:pt x="959" y="705"/>
                </a:cubicBezTo>
                <a:lnTo>
                  <a:pt x="1403" y="705"/>
                </a:lnTo>
                <a:close/>
                <a:moveTo>
                  <a:pt x="958" y="560"/>
                </a:moveTo>
                <a:cubicBezTo>
                  <a:pt x="964" y="504"/>
                  <a:pt x="1000" y="422"/>
                  <a:pt x="1092" y="422"/>
                </a:cubicBezTo>
                <a:cubicBezTo>
                  <a:pt x="1189" y="422"/>
                  <a:pt x="1211" y="508"/>
                  <a:pt x="1211" y="560"/>
                </a:cubicBezTo>
                <a:lnTo>
                  <a:pt x="958" y="560"/>
                </a:lnTo>
                <a:close/>
                <a:moveTo>
                  <a:pt x="1454" y="978"/>
                </a:moveTo>
                <a:cubicBezTo>
                  <a:pt x="1668" y="978"/>
                  <a:pt x="1668" y="978"/>
                  <a:pt x="1668" y="978"/>
                </a:cubicBezTo>
                <a:cubicBezTo>
                  <a:pt x="1668" y="634"/>
                  <a:pt x="1668" y="634"/>
                  <a:pt x="1668" y="634"/>
                </a:cubicBezTo>
                <a:cubicBezTo>
                  <a:pt x="1668" y="616"/>
                  <a:pt x="1669" y="600"/>
                  <a:pt x="1672" y="586"/>
                </a:cubicBezTo>
                <a:cubicBezTo>
                  <a:pt x="1686" y="519"/>
                  <a:pt x="1740" y="479"/>
                  <a:pt x="1818" y="479"/>
                </a:cubicBezTo>
                <a:cubicBezTo>
                  <a:pt x="1842" y="479"/>
                  <a:pt x="1859" y="482"/>
                  <a:pt x="1876" y="484"/>
                </a:cubicBezTo>
                <a:cubicBezTo>
                  <a:pt x="1876" y="285"/>
                  <a:pt x="1876" y="285"/>
                  <a:pt x="1876" y="285"/>
                </a:cubicBezTo>
                <a:cubicBezTo>
                  <a:pt x="1861" y="282"/>
                  <a:pt x="1851" y="281"/>
                  <a:pt x="1831" y="281"/>
                </a:cubicBezTo>
                <a:cubicBezTo>
                  <a:pt x="1764" y="281"/>
                  <a:pt x="1680" y="323"/>
                  <a:pt x="1645" y="423"/>
                </a:cubicBezTo>
                <a:cubicBezTo>
                  <a:pt x="1640" y="423"/>
                  <a:pt x="1640" y="423"/>
                  <a:pt x="1640" y="423"/>
                </a:cubicBezTo>
                <a:cubicBezTo>
                  <a:pt x="1631" y="296"/>
                  <a:pt x="1631" y="296"/>
                  <a:pt x="1631" y="296"/>
                </a:cubicBezTo>
                <a:cubicBezTo>
                  <a:pt x="1448" y="296"/>
                  <a:pt x="1448" y="296"/>
                  <a:pt x="1448" y="296"/>
                </a:cubicBezTo>
                <a:cubicBezTo>
                  <a:pt x="1452" y="355"/>
                  <a:pt x="1454" y="420"/>
                  <a:pt x="1454" y="521"/>
                </a:cubicBezTo>
                <a:lnTo>
                  <a:pt x="1454" y="978"/>
                </a:lnTo>
                <a:close/>
                <a:moveTo>
                  <a:pt x="2527" y="705"/>
                </a:moveTo>
                <a:cubicBezTo>
                  <a:pt x="2530" y="690"/>
                  <a:pt x="2534" y="657"/>
                  <a:pt x="2534" y="621"/>
                </a:cubicBezTo>
                <a:cubicBezTo>
                  <a:pt x="2534" y="452"/>
                  <a:pt x="2449" y="281"/>
                  <a:pt x="2227" y="281"/>
                </a:cubicBezTo>
                <a:cubicBezTo>
                  <a:pt x="1989" y="281"/>
                  <a:pt x="1879" y="472"/>
                  <a:pt x="1879" y="645"/>
                </a:cubicBezTo>
                <a:cubicBezTo>
                  <a:pt x="1879" y="858"/>
                  <a:pt x="2013" y="992"/>
                  <a:pt x="2247" y="992"/>
                </a:cubicBezTo>
                <a:cubicBezTo>
                  <a:pt x="2340" y="992"/>
                  <a:pt x="2425" y="978"/>
                  <a:pt x="2496" y="949"/>
                </a:cubicBezTo>
                <a:cubicBezTo>
                  <a:pt x="2468" y="805"/>
                  <a:pt x="2468" y="805"/>
                  <a:pt x="2468" y="805"/>
                </a:cubicBezTo>
                <a:cubicBezTo>
                  <a:pt x="2410" y="825"/>
                  <a:pt x="2351" y="835"/>
                  <a:pt x="2278" y="835"/>
                </a:cubicBezTo>
                <a:cubicBezTo>
                  <a:pt x="2178" y="835"/>
                  <a:pt x="2090" y="793"/>
                  <a:pt x="2083" y="705"/>
                </a:cubicBezTo>
                <a:lnTo>
                  <a:pt x="2527" y="705"/>
                </a:lnTo>
                <a:close/>
                <a:moveTo>
                  <a:pt x="2082" y="560"/>
                </a:moveTo>
                <a:cubicBezTo>
                  <a:pt x="2087" y="504"/>
                  <a:pt x="2124" y="422"/>
                  <a:pt x="2216" y="422"/>
                </a:cubicBezTo>
                <a:cubicBezTo>
                  <a:pt x="2313" y="422"/>
                  <a:pt x="2335" y="508"/>
                  <a:pt x="2335" y="560"/>
                </a:cubicBezTo>
                <a:lnTo>
                  <a:pt x="2082" y="560"/>
                </a:lnTo>
                <a:close/>
                <a:moveTo>
                  <a:pt x="2570" y="978"/>
                </a:moveTo>
                <a:cubicBezTo>
                  <a:pt x="2779" y="978"/>
                  <a:pt x="2779" y="978"/>
                  <a:pt x="2779" y="978"/>
                </a:cubicBezTo>
                <a:cubicBezTo>
                  <a:pt x="2779" y="582"/>
                  <a:pt x="2779" y="582"/>
                  <a:pt x="2779" y="582"/>
                </a:cubicBezTo>
                <a:cubicBezTo>
                  <a:pt x="2779" y="564"/>
                  <a:pt x="2780" y="544"/>
                  <a:pt x="2787" y="528"/>
                </a:cubicBezTo>
                <a:cubicBezTo>
                  <a:pt x="2800" y="494"/>
                  <a:pt x="2832" y="452"/>
                  <a:pt x="2887" y="452"/>
                </a:cubicBezTo>
                <a:cubicBezTo>
                  <a:pt x="2956" y="452"/>
                  <a:pt x="2987" y="511"/>
                  <a:pt x="2987" y="596"/>
                </a:cubicBezTo>
                <a:cubicBezTo>
                  <a:pt x="2987" y="978"/>
                  <a:pt x="2987" y="978"/>
                  <a:pt x="2987" y="978"/>
                </a:cubicBezTo>
                <a:cubicBezTo>
                  <a:pt x="3196" y="978"/>
                  <a:pt x="3196" y="978"/>
                  <a:pt x="3196" y="978"/>
                </a:cubicBezTo>
                <a:cubicBezTo>
                  <a:pt x="3196" y="579"/>
                  <a:pt x="3196" y="579"/>
                  <a:pt x="3196" y="579"/>
                </a:cubicBezTo>
                <a:cubicBezTo>
                  <a:pt x="3196" y="563"/>
                  <a:pt x="3199" y="542"/>
                  <a:pt x="3203" y="526"/>
                </a:cubicBezTo>
                <a:cubicBezTo>
                  <a:pt x="3218" y="486"/>
                  <a:pt x="3252" y="452"/>
                  <a:pt x="3303" y="452"/>
                </a:cubicBezTo>
                <a:cubicBezTo>
                  <a:pt x="3372" y="452"/>
                  <a:pt x="3404" y="510"/>
                  <a:pt x="3404" y="609"/>
                </a:cubicBezTo>
                <a:cubicBezTo>
                  <a:pt x="3404" y="978"/>
                  <a:pt x="3404" y="978"/>
                  <a:pt x="3404" y="978"/>
                </a:cubicBezTo>
                <a:cubicBezTo>
                  <a:pt x="3613" y="978"/>
                  <a:pt x="3613" y="978"/>
                  <a:pt x="3613" y="978"/>
                </a:cubicBezTo>
                <a:cubicBezTo>
                  <a:pt x="3613" y="577"/>
                  <a:pt x="3613" y="577"/>
                  <a:pt x="3613" y="577"/>
                </a:cubicBezTo>
                <a:cubicBezTo>
                  <a:pt x="3613" y="373"/>
                  <a:pt x="3513" y="281"/>
                  <a:pt x="3380" y="281"/>
                </a:cubicBezTo>
                <a:cubicBezTo>
                  <a:pt x="3330" y="281"/>
                  <a:pt x="3287" y="293"/>
                  <a:pt x="3249" y="314"/>
                </a:cubicBezTo>
                <a:cubicBezTo>
                  <a:pt x="3216" y="334"/>
                  <a:pt x="3186" y="362"/>
                  <a:pt x="3159" y="398"/>
                </a:cubicBezTo>
                <a:cubicBezTo>
                  <a:pt x="3156" y="398"/>
                  <a:pt x="3156" y="398"/>
                  <a:pt x="3156" y="398"/>
                </a:cubicBezTo>
                <a:cubicBezTo>
                  <a:pt x="3127" y="327"/>
                  <a:pt x="3058" y="281"/>
                  <a:pt x="2968" y="281"/>
                </a:cubicBezTo>
                <a:cubicBezTo>
                  <a:pt x="2851" y="281"/>
                  <a:pt x="2789" y="345"/>
                  <a:pt x="2759" y="390"/>
                </a:cubicBezTo>
                <a:cubicBezTo>
                  <a:pt x="2755" y="390"/>
                  <a:pt x="2755" y="390"/>
                  <a:pt x="2755" y="390"/>
                </a:cubicBezTo>
                <a:cubicBezTo>
                  <a:pt x="2747" y="296"/>
                  <a:pt x="2747" y="296"/>
                  <a:pt x="2747" y="296"/>
                </a:cubicBezTo>
                <a:cubicBezTo>
                  <a:pt x="2565" y="296"/>
                  <a:pt x="2565" y="296"/>
                  <a:pt x="2565" y="296"/>
                </a:cubicBezTo>
                <a:cubicBezTo>
                  <a:pt x="2568" y="358"/>
                  <a:pt x="2570" y="429"/>
                  <a:pt x="2570" y="514"/>
                </a:cubicBezTo>
                <a:lnTo>
                  <a:pt x="2570" y="978"/>
                </a:lnTo>
                <a:close/>
                <a:moveTo>
                  <a:pt x="3883" y="296"/>
                </a:moveTo>
                <a:cubicBezTo>
                  <a:pt x="3669" y="296"/>
                  <a:pt x="3669" y="296"/>
                  <a:pt x="3669" y="296"/>
                </a:cubicBezTo>
                <a:cubicBezTo>
                  <a:pt x="3669" y="978"/>
                  <a:pt x="3669" y="978"/>
                  <a:pt x="3669" y="978"/>
                </a:cubicBezTo>
                <a:cubicBezTo>
                  <a:pt x="3883" y="978"/>
                  <a:pt x="3883" y="978"/>
                  <a:pt x="3883" y="978"/>
                </a:cubicBezTo>
                <a:lnTo>
                  <a:pt x="3883" y="296"/>
                </a:lnTo>
                <a:close/>
                <a:moveTo>
                  <a:pt x="3776" y="212"/>
                </a:moveTo>
                <a:cubicBezTo>
                  <a:pt x="3846" y="212"/>
                  <a:pt x="3890" y="165"/>
                  <a:pt x="3890" y="106"/>
                </a:cubicBezTo>
                <a:cubicBezTo>
                  <a:pt x="3889" y="46"/>
                  <a:pt x="3846" y="0"/>
                  <a:pt x="3777" y="0"/>
                </a:cubicBezTo>
                <a:cubicBezTo>
                  <a:pt x="3708" y="0"/>
                  <a:pt x="3663" y="46"/>
                  <a:pt x="3663" y="106"/>
                </a:cubicBezTo>
                <a:cubicBezTo>
                  <a:pt x="3663" y="165"/>
                  <a:pt x="3707" y="212"/>
                  <a:pt x="3775" y="212"/>
                </a:cubicBezTo>
                <a:lnTo>
                  <a:pt x="3776" y="212"/>
                </a:lnTo>
                <a:close/>
                <a:moveTo>
                  <a:pt x="3924" y="944"/>
                </a:moveTo>
                <a:cubicBezTo>
                  <a:pt x="3976" y="971"/>
                  <a:pt x="4056" y="992"/>
                  <a:pt x="4146" y="992"/>
                </a:cubicBezTo>
                <a:cubicBezTo>
                  <a:pt x="4344" y="992"/>
                  <a:pt x="4444" y="899"/>
                  <a:pt x="4444" y="771"/>
                </a:cubicBezTo>
                <a:cubicBezTo>
                  <a:pt x="4442" y="671"/>
                  <a:pt x="4389" y="606"/>
                  <a:pt x="4258" y="561"/>
                </a:cubicBezTo>
                <a:cubicBezTo>
                  <a:pt x="4173" y="533"/>
                  <a:pt x="4146" y="515"/>
                  <a:pt x="4146" y="483"/>
                </a:cubicBezTo>
                <a:cubicBezTo>
                  <a:pt x="4146" y="450"/>
                  <a:pt x="4176" y="429"/>
                  <a:pt x="4228" y="429"/>
                </a:cubicBezTo>
                <a:cubicBezTo>
                  <a:pt x="4286" y="429"/>
                  <a:pt x="4346" y="451"/>
                  <a:pt x="4377" y="466"/>
                </a:cubicBezTo>
                <a:cubicBezTo>
                  <a:pt x="4414" y="321"/>
                  <a:pt x="4414" y="321"/>
                  <a:pt x="4414" y="321"/>
                </a:cubicBezTo>
                <a:cubicBezTo>
                  <a:pt x="4372" y="300"/>
                  <a:pt x="4301" y="281"/>
                  <a:pt x="4221" y="281"/>
                </a:cubicBezTo>
                <a:cubicBezTo>
                  <a:pt x="4051" y="281"/>
                  <a:pt x="3941" y="377"/>
                  <a:pt x="3941" y="505"/>
                </a:cubicBezTo>
                <a:cubicBezTo>
                  <a:pt x="3939" y="585"/>
                  <a:pt x="3994" y="662"/>
                  <a:pt x="4138" y="709"/>
                </a:cubicBezTo>
                <a:cubicBezTo>
                  <a:pt x="4217" y="734"/>
                  <a:pt x="4238" y="752"/>
                  <a:pt x="4238" y="787"/>
                </a:cubicBezTo>
                <a:cubicBezTo>
                  <a:pt x="4238" y="822"/>
                  <a:pt x="4211" y="843"/>
                  <a:pt x="4146" y="843"/>
                </a:cubicBezTo>
                <a:cubicBezTo>
                  <a:pt x="4083" y="843"/>
                  <a:pt x="4001" y="817"/>
                  <a:pt x="3962" y="793"/>
                </a:cubicBezTo>
                <a:lnTo>
                  <a:pt x="3924" y="94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00EBA7F1-1978-48BC-B9CD-B5B92DECA845}"/>
              </a:ext>
            </a:extLst>
          </p:cNvPr>
          <p:cNvSpPr txBox="1"/>
          <p:nvPr/>
        </p:nvSpPr>
        <p:spPr>
          <a:xfrm>
            <a:off x="2488479" y="411603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®</a:t>
            </a:r>
          </a:p>
        </p:txBody>
      </p:sp>
    </p:spTree>
    <p:extLst>
      <p:ext uri="{BB962C8B-B14F-4D97-AF65-F5344CB8AC3E}">
        <p14:creationId xmlns:p14="http://schemas.microsoft.com/office/powerpoint/2010/main" val="1801159493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EF06C0-B994-1CB9-C938-4404628ED7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cent carbon savings realised by Tata Steel Nederland are </a:t>
            </a:r>
            <a:br>
              <a:rPr lang="en-GB"/>
            </a:br>
            <a:r>
              <a:rPr lang="en-GB"/>
              <a:t>independently assured by DNV and compiled in our central carbon ban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D8D0E8C-9F2E-0802-A771-BC51CE4F280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213" y="1295400"/>
            <a:ext cx="2917825" cy="3334940"/>
          </a:xfrm>
        </p:spPr>
        <p:txBody>
          <a:bodyPr/>
          <a:lstStyle/>
          <a:p>
            <a:r>
              <a:rPr lang="en-GB" sz="1400"/>
              <a:t>Our Carbon Lite solution draws on</a:t>
            </a:r>
          </a:p>
          <a:p>
            <a:r>
              <a:rPr lang="en-GB" sz="1400"/>
              <a:t>credits from this bank in the form </a:t>
            </a:r>
            <a:br>
              <a:rPr lang="en-GB" sz="1400"/>
            </a:br>
            <a:r>
              <a:rPr lang="en-GB" sz="1400"/>
              <a:t>of declarations, meaning you can meet your specific carbon reduction target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EB0EB77-375E-37E6-DB18-5899F91556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8CD7DD-A5B4-8DE1-93A8-D1E8C8576B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6" name="Table 9">
            <a:extLst>
              <a:ext uri="{FF2B5EF4-FFF2-40B4-BE49-F238E27FC236}">
                <a16:creationId xmlns:a16="http://schemas.microsoft.com/office/drawing/2014/main" id="{3B2B491A-CB17-2A05-1C65-4AE74E6EEAC9}"/>
              </a:ext>
            </a:extLst>
          </p:cNvPr>
          <p:cNvGraphicFramePr>
            <a:graphicFrameLocks noGrp="1"/>
          </p:cNvGraphicFramePr>
          <p:nvPr/>
        </p:nvGraphicFramePr>
        <p:xfrm>
          <a:off x="3624263" y="1295399"/>
          <a:ext cx="4957200" cy="3338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5600">
                  <a:extLst>
                    <a:ext uri="{9D8B030D-6E8A-4147-A177-3AD203B41FA5}">
                      <a16:colId xmlns:a16="http://schemas.microsoft.com/office/drawing/2014/main" val="275658204"/>
                    </a:ext>
                  </a:extLst>
                </a:gridCol>
                <a:gridCol w="2106000">
                  <a:extLst>
                    <a:ext uri="{9D8B030D-6E8A-4147-A177-3AD203B41FA5}">
                      <a16:colId xmlns:a16="http://schemas.microsoft.com/office/drawing/2014/main" val="2244882579"/>
                    </a:ext>
                  </a:extLst>
                </a:gridCol>
                <a:gridCol w="1425600">
                  <a:extLst>
                    <a:ext uri="{9D8B030D-6E8A-4147-A177-3AD203B41FA5}">
                      <a16:colId xmlns:a16="http://schemas.microsoft.com/office/drawing/2014/main" val="1563704505"/>
                    </a:ext>
                  </a:extLst>
                </a:gridCol>
              </a:tblGrid>
              <a:tr h="333578">
                <a:tc>
                  <a:txBody>
                    <a:bodyPr/>
                    <a:lstStyle/>
                    <a:p>
                      <a:pPr algn="ctr"/>
                      <a:r>
                        <a:rPr lang="en-GB" sz="800">
                          <a:solidFill>
                            <a:schemeClr val="tx1"/>
                          </a:solidFill>
                        </a:rPr>
                        <a:t>TSN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>
                          <a:solidFill>
                            <a:schemeClr val="accent1"/>
                          </a:solidFill>
                        </a:rPr>
                        <a:t>TSN Carbon bank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>
                          <a:solidFill>
                            <a:schemeClr val="tx1"/>
                          </a:solidFill>
                        </a:rPr>
                        <a:t>Steel coils sold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103579"/>
                  </a:ext>
                </a:extLst>
              </a:tr>
              <a:tr h="3004936"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D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F8F6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1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878153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7352FAA6-371F-6546-19F3-DFC99DF44A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6941" y="1696039"/>
            <a:ext cx="272797" cy="27279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27BFB477-C6E5-9829-BB56-1FE7A1A36F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8090" y="2334469"/>
            <a:ext cx="2112269" cy="96012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6846E7B-E82C-379A-5AF5-07B962B07AD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495" y="3569173"/>
            <a:ext cx="348997" cy="47853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2E27579-17AA-6FED-4E7B-E478113DE40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712" y="1876420"/>
            <a:ext cx="280417" cy="37947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0C3DFB9-CD96-B034-9343-B406D11368A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3518" y="3901406"/>
            <a:ext cx="2116841" cy="24231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CA5216C-E9DA-E97D-BD09-4898B466B5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48884" y="3901406"/>
            <a:ext cx="576073" cy="29260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CE009DD-26E9-4E3F-52DA-D841F68402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320" y="2689895"/>
            <a:ext cx="457201" cy="50901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BAE6B1E-196A-67E8-A5DF-CEF17AF535B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76632" y="2037569"/>
            <a:ext cx="1188723" cy="789434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4744FCD-4606-1301-7177-6A98E69E6C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6657" y="1692447"/>
            <a:ext cx="272797" cy="272797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991BFBD9-85F3-38BC-897D-E92474F7660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6373" y="1688855"/>
            <a:ext cx="272797" cy="272797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25D1489D-B75F-0616-151A-67C3BE6EDF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6089" y="1685263"/>
            <a:ext cx="272797" cy="27279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CFEDEEC-E62C-4DC1-0B31-5E4A9A420E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5805" y="1681671"/>
            <a:ext cx="272797" cy="272797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892E99E0-E932-6C14-6126-593A871BFBB7}"/>
              </a:ext>
            </a:extLst>
          </p:cNvPr>
          <p:cNvSpPr txBox="1"/>
          <p:nvPr/>
        </p:nvSpPr>
        <p:spPr>
          <a:xfrm>
            <a:off x="3740424" y="1714392"/>
            <a:ext cx="1199313" cy="162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jects to reduce CO</a:t>
            </a:r>
            <a:r>
              <a:rPr kumimoji="0" lang="en-GB" sz="800" b="0" i="0" u="none" strike="noStrike" kern="1200" cap="none" spc="0" normalizeH="0" baseline="-25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</a:t>
            </a:r>
            <a:endParaRPr kumimoji="0" lang="en-GB" sz="800" b="0" i="0" u="none" strike="noStrike" kern="1200" cap="none" spc="0" normalizeH="0" baseline="-25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E834FDA-9E68-A6BD-2B6D-9B20830393A9}"/>
              </a:ext>
            </a:extLst>
          </p:cNvPr>
          <p:cNvSpPr txBox="1"/>
          <p:nvPr/>
        </p:nvSpPr>
        <p:spPr>
          <a:xfrm>
            <a:off x="3788549" y="2313025"/>
            <a:ext cx="1095256" cy="162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lectrificat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AA827F-24E9-7613-D368-70A785C19E05}"/>
              </a:ext>
            </a:extLst>
          </p:cNvPr>
          <p:cNvSpPr txBox="1"/>
          <p:nvPr/>
        </p:nvSpPr>
        <p:spPr>
          <a:xfrm>
            <a:off x="3788549" y="3276564"/>
            <a:ext cx="1095256" cy="2926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ar energy &gt;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newable energ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5991004-4551-8C11-4290-3160AECB5E79}"/>
              </a:ext>
            </a:extLst>
          </p:cNvPr>
          <p:cNvSpPr txBox="1"/>
          <p:nvPr/>
        </p:nvSpPr>
        <p:spPr>
          <a:xfrm>
            <a:off x="3788549" y="4248466"/>
            <a:ext cx="1095256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cess changes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nd innovation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F166B14-3C9B-BC85-76B4-2CD19C12DEBC}"/>
              </a:ext>
            </a:extLst>
          </p:cNvPr>
          <p:cNvSpPr txBox="1"/>
          <p:nvPr/>
        </p:nvSpPr>
        <p:spPr>
          <a:xfrm>
            <a:off x="7323365" y="4143723"/>
            <a:ext cx="1095256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NL" sz="800">
                <a:solidFill>
                  <a:srgbClr val="000000"/>
                </a:solidFill>
                <a:latin typeface="Arial"/>
              </a:rPr>
              <a:t>D</a:t>
            </a:r>
            <a:r>
              <a:rPr kumimoji="0" lang="en-GB" sz="8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claration</a:t>
            </a:r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FA5323C-0220-F9BF-F2DC-187EAD3AD697}"/>
              </a:ext>
            </a:extLst>
          </p:cNvPr>
          <p:cNvSpPr txBox="1"/>
          <p:nvPr/>
        </p:nvSpPr>
        <p:spPr>
          <a:xfrm>
            <a:off x="5188051" y="2048717"/>
            <a:ext cx="520308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GB" sz="800" b="0" i="0" u="none" strike="noStrike" kern="1200" cap="none" spc="0" normalizeH="0" baseline="-2500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saving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A87A094-E223-2D1E-DBDB-68CE51BC286A}"/>
              </a:ext>
            </a:extLst>
          </p:cNvPr>
          <p:cNvSpPr txBox="1"/>
          <p:nvPr/>
        </p:nvSpPr>
        <p:spPr>
          <a:xfrm>
            <a:off x="6557105" y="2045016"/>
            <a:ext cx="520308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</a:t>
            </a:r>
            <a:r>
              <a:rPr kumimoji="0" lang="en-GB" sz="800" b="0" i="0" u="none" strike="noStrike" kern="1200" cap="none" spc="0" normalizeH="0" baseline="-2500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 savings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B0DB58A-41EA-6AB3-0CDD-2AA621F3F61C}"/>
              </a:ext>
            </a:extLst>
          </p:cNvPr>
          <p:cNvSpPr txBox="1"/>
          <p:nvPr/>
        </p:nvSpPr>
        <p:spPr>
          <a:xfrm>
            <a:off x="5088974" y="3028714"/>
            <a:ext cx="579989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xternal Verification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C274AE-5737-7394-197E-605E5B40CE68}"/>
              </a:ext>
            </a:extLst>
          </p:cNvPr>
          <p:cNvSpPr txBox="1"/>
          <p:nvPr/>
        </p:nvSpPr>
        <p:spPr>
          <a:xfrm>
            <a:off x="6621254" y="3022975"/>
            <a:ext cx="456159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reen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A8B5379-ABB5-6C5C-A20A-44D17E2A6796}"/>
              </a:ext>
            </a:extLst>
          </p:cNvPr>
          <p:cNvSpPr txBox="1"/>
          <p:nvPr/>
        </p:nvSpPr>
        <p:spPr>
          <a:xfrm>
            <a:off x="5197169" y="4194015"/>
            <a:ext cx="1814111" cy="2680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it to reinvest the </a:t>
            </a:r>
            <a:b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rgbClr val="34B2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ales to accelerate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A86C856-C2C0-6B6B-98AE-B7392DEDBA69}"/>
              </a:ext>
            </a:extLst>
          </p:cNvPr>
          <p:cNvSpPr txBox="1"/>
          <p:nvPr/>
        </p:nvSpPr>
        <p:spPr>
          <a:xfrm>
            <a:off x="5707008" y="2631534"/>
            <a:ext cx="801963" cy="37432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bon bank</a:t>
            </a:r>
            <a:b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800" b="1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t</a:t>
            </a: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CO</a:t>
            </a:r>
            <a:r>
              <a:rPr kumimoji="0" lang="en-GB" sz="800" b="1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786418376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EEC7D78-8F50-4176-9EBF-DA3DE1CFAB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2332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EEC7D78-8F50-4176-9EBF-DA3DE1CFAB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Footer Placeholder 3">
            <a:extLst>
              <a:ext uri="{FF2B5EF4-FFF2-40B4-BE49-F238E27FC236}">
                <a16:creationId xmlns:a16="http://schemas.microsoft.com/office/drawing/2014/main" id="{A3534F62-D794-4B12-A168-30A54DDC6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  <p:sp>
        <p:nvSpPr>
          <p:cNvPr id="36" name="Slide Number Placeholder 4">
            <a:extLst>
              <a:ext uri="{FF2B5EF4-FFF2-40B4-BE49-F238E27FC236}">
                <a16:creationId xmlns:a16="http://schemas.microsoft.com/office/drawing/2014/main" id="{11FC4883-8F61-4F77-B268-5FCB9717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93559" y="4838400"/>
            <a:ext cx="193228" cy="186038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" name="Picture 5" descr="A diagram of a green background&#10;&#10;Description automatically generated with medium confidence">
            <a:extLst>
              <a:ext uri="{FF2B5EF4-FFF2-40B4-BE49-F238E27FC236}">
                <a16:creationId xmlns:a16="http://schemas.microsoft.com/office/drawing/2014/main" id="{7114E781-1CBF-6479-15DD-87282BF41A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1291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79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B4D463-8B54-50A1-8DC6-2CF5010AC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490FE5DC-39B4-4249-96C2-89A5AD6CD8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315912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BA76B7-F68D-D51B-1B94-37688CE730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ont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483F74-DE62-DACA-E6A0-E242B2732F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NL">
                <a:solidFill>
                  <a:schemeClr val="accent6"/>
                </a:solidFill>
              </a:rPr>
              <a:t>T</a:t>
            </a:r>
            <a:r>
              <a:rPr lang="en-US">
                <a:solidFill>
                  <a:schemeClr val="accent6"/>
                </a:solidFill>
              </a:rPr>
              <a:t>h</a:t>
            </a:r>
            <a:r>
              <a:rPr lang="en-NL">
                <a:solidFill>
                  <a:schemeClr val="accent6"/>
                </a:solidFill>
              </a:rPr>
              <a:t>e Journey: </a:t>
            </a:r>
            <a:r>
              <a:rPr lang="en-GB">
                <a:solidFill>
                  <a:schemeClr val="accent6"/>
                </a:solidFill>
              </a:rPr>
              <a:t>Introducing </a:t>
            </a:r>
            <a:r>
              <a:rPr lang="en-GB" err="1">
                <a:solidFill>
                  <a:schemeClr val="accent6"/>
                </a:solidFill>
              </a:rPr>
              <a:t>Zeremis</a:t>
            </a:r>
            <a:endParaRPr lang="en-GB">
              <a:solidFill>
                <a:schemeClr val="accent6"/>
              </a:solidFill>
              <a:highlight>
                <a:srgbClr val="FFFF00"/>
              </a:highlight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accent6"/>
                </a:solidFill>
              </a:rPr>
              <a:t>Our track recor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accent6"/>
                </a:solidFill>
              </a:rPr>
              <a:t>Our ambition</a:t>
            </a:r>
          </a:p>
          <a:p>
            <a:r>
              <a:rPr lang="en-GB">
                <a:solidFill>
                  <a:schemeClr val="accent6"/>
                </a:solidFill>
              </a:rPr>
              <a:t>Driving transformation</a:t>
            </a:r>
          </a:p>
          <a:p>
            <a:r>
              <a:rPr lang="en-GB">
                <a:solidFill>
                  <a:schemeClr val="accent6"/>
                </a:solidFill>
              </a:rPr>
              <a:t>Accelerating chang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err="1">
                <a:solidFill>
                  <a:schemeClr val="accent6"/>
                </a:solidFill>
              </a:rPr>
              <a:t>Zeremis</a:t>
            </a:r>
            <a:r>
              <a:rPr lang="en-GB">
                <a:solidFill>
                  <a:schemeClr val="accent6"/>
                </a:solidFill>
              </a:rPr>
              <a:t> Carbon Lite</a:t>
            </a:r>
            <a:endParaRPr lang="en-NL">
              <a:solidFill>
                <a:schemeClr val="accent6"/>
              </a:solidFill>
            </a:endParaRPr>
          </a:p>
          <a:p>
            <a:pPr lvl="1">
              <a:buFont typeface="Wingdings" panose="05000000000000000000" pitchFamily="2" charset="2"/>
              <a:buChar char="§"/>
            </a:pPr>
            <a:r>
              <a:rPr lang="en-GB">
                <a:solidFill>
                  <a:schemeClr val="accent6"/>
                </a:solidFill>
              </a:rPr>
              <a:t>Reinvesting in the fut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EBD36A-E01F-C43A-3FCC-017B348B88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2</a:t>
            </a:fld>
            <a:endParaRPr lang="en-GB"/>
          </a:p>
        </p:txBody>
      </p:sp>
      <p:sp>
        <p:nvSpPr>
          <p:cNvPr id="7" name="Footer Placeholder 7">
            <a:extLst>
              <a:ext uri="{FF2B5EF4-FFF2-40B4-BE49-F238E27FC236}">
                <a16:creationId xmlns:a16="http://schemas.microsoft.com/office/drawing/2014/main" id="{357F5A21-7CC7-436A-81B6-B42D8BB007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1142821817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9DAEFB2-D356-8C31-9FB9-0D9AF695D2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DB4D463-8B54-50A1-8DC6-2CF5010AC7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E5EFEA2-B4E1-05B4-78F2-930CF8F8C4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9636" y="487800"/>
            <a:ext cx="4478711" cy="1767665"/>
          </a:xfrm>
        </p:spPr>
        <p:txBody>
          <a:bodyPr/>
          <a:lstStyle/>
          <a:p>
            <a:r>
              <a:rPr lang="en-NL" sz="2200" b="1">
                <a:latin typeface="+mj-lt"/>
              </a:rPr>
              <a:t>Why buy </a:t>
            </a:r>
            <a:r>
              <a:rPr lang="en-NL" sz="2200" b="1" err="1">
                <a:latin typeface="+mj-lt"/>
              </a:rPr>
              <a:t>Zeremis</a:t>
            </a:r>
            <a:r>
              <a:rPr lang="en-NL" sz="2200" b="1">
                <a:latin typeface="+mj-lt"/>
              </a:rPr>
              <a:t> Carbon Lite</a:t>
            </a:r>
            <a:endParaRPr lang="en-GB" sz="2200" b="1">
              <a:latin typeface="+mj-lt"/>
            </a:endParaRPr>
          </a:p>
        </p:txBody>
      </p:sp>
      <p:sp>
        <p:nvSpPr>
          <p:cNvPr id="16" name="Freeform 11">
            <a:extLst>
              <a:ext uri="{FF2B5EF4-FFF2-40B4-BE49-F238E27FC236}">
                <a16:creationId xmlns:a16="http://schemas.microsoft.com/office/drawing/2014/main" id="{6CAE93B6-AFDF-0291-DB25-18E22DEA1109}"/>
              </a:ext>
            </a:extLst>
          </p:cNvPr>
          <p:cNvSpPr>
            <a:spLocks noEditPoints="1"/>
          </p:cNvSpPr>
          <p:nvPr/>
        </p:nvSpPr>
        <p:spPr bwMode="auto">
          <a:xfrm>
            <a:off x="0" y="2063247"/>
            <a:ext cx="8586788" cy="2389692"/>
          </a:xfrm>
          <a:custGeom>
            <a:avLst/>
            <a:gdLst>
              <a:gd name="T0" fmla="*/ 16592 w 16931"/>
              <a:gd name="T1" fmla="*/ 4035 h 4712"/>
              <a:gd name="T2" fmla="*/ 16305 w 16931"/>
              <a:gd name="T3" fmla="*/ 4035 h 4712"/>
              <a:gd name="T4" fmla="*/ 16542 w 16931"/>
              <a:gd name="T5" fmla="*/ 4271 h 4712"/>
              <a:gd name="T6" fmla="*/ 14839 w 16931"/>
              <a:gd name="T7" fmla="*/ 4271 h 4712"/>
              <a:gd name="T8" fmla="*/ 14649 w 16931"/>
              <a:gd name="T9" fmla="*/ 4084 h 4712"/>
              <a:gd name="T10" fmla="*/ 14649 w 16931"/>
              <a:gd name="T11" fmla="*/ 1311 h 4712"/>
              <a:gd name="T12" fmla="*/ 14642 w 16931"/>
              <a:gd name="T13" fmla="*/ 1276 h 4712"/>
              <a:gd name="T14" fmla="*/ 14614 w 16931"/>
              <a:gd name="T15" fmla="*/ 1225 h 4712"/>
              <a:gd name="T16" fmla="*/ 13415 w 16931"/>
              <a:gd name="T17" fmla="*/ 31 h 4712"/>
              <a:gd name="T18" fmla="*/ 13335 w 16931"/>
              <a:gd name="T19" fmla="*/ 3 h 4712"/>
              <a:gd name="T20" fmla="*/ 13328 w 16931"/>
              <a:gd name="T21" fmla="*/ 2 h 4712"/>
              <a:gd name="T22" fmla="*/ 11502 w 16931"/>
              <a:gd name="T23" fmla="*/ 2 h 4712"/>
              <a:gd name="T24" fmla="*/ 11402 w 16931"/>
              <a:gd name="T25" fmla="*/ 102 h 4712"/>
              <a:gd name="T26" fmla="*/ 11402 w 16931"/>
              <a:gd name="T27" fmla="*/ 4084 h 4712"/>
              <a:gd name="T28" fmla="*/ 11212 w 16931"/>
              <a:gd name="T29" fmla="*/ 4271 h 4712"/>
              <a:gd name="T30" fmla="*/ 0 w 16931"/>
              <a:gd name="T31" fmla="*/ 4271 h 4712"/>
              <a:gd name="T32" fmla="*/ 0 w 16931"/>
              <a:gd name="T33" fmla="*/ 4472 h 4712"/>
              <a:gd name="T34" fmla="*/ 11212 w 16931"/>
              <a:gd name="T35" fmla="*/ 4472 h 4712"/>
              <a:gd name="T36" fmla="*/ 11602 w 16931"/>
              <a:gd name="T37" fmla="*/ 4084 h 4712"/>
              <a:gd name="T38" fmla="*/ 11602 w 16931"/>
              <a:gd name="T39" fmla="*/ 202 h 4712"/>
              <a:gd name="T40" fmla="*/ 13244 w 16931"/>
              <a:gd name="T41" fmla="*/ 202 h 4712"/>
              <a:gd name="T42" fmla="*/ 13244 w 16931"/>
              <a:gd name="T43" fmla="*/ 1296 h 4712"/>
              <a:gd name="T44" fmla="*/ 13344 w 16931"/>
              <a:gd name="T45" fmla="*/ 1396 h 4712"/>
              <a:gd name="T46" fmla="*/ 14448 w 16931"/>
              <a:gd name="T47" fmla="*/ 1396 h 4712"/>
              <a:gd name="T48" fmla="*/ 14448 w 16931"/>
              <a:gd name="T49" fmla="*/ 2316 h 4712"/>
              <a:gd name="T50" fmla="*/ 13589 w 16931"/>
              <a:gd name="T51" fmla="*/ 1873 h 4712"/>
              <a:gd name="T52" fmla="*/ 12534 w 16931"/>
              <a:gd name="T53" fmla="*/ 2926 h 4712"/>
              <a:gd name="T54" fmla="*/ 13589 w 16931"/>
              <a:gd name="T55" fmla="*/ 3979 h 4712"/>
              <a:gd name="T56" fmla="*/ 14448 w 16931"/>
              <a:gd name="T57" fmla="*/ 3535 h 4712"/>
              <a:gd name="T58" fmla="*/ 14448 w 16931"/>
              <a:gd name="T59" fmla="*/ 4084 h 4712"/>
              <a:gd name="T60" fmla="*/ 14839 w 16931"/>
              <a:gd name="T61" fmla="*/ 4472 h 4712"/>
              <a:gd name="T62" fmla="*/ 16546 w 16931"/>
              <a:gd name="T63" fmla="*/ 4472 h 4712"/>
              <a:gd name="T64" fmla="*/ 16306 w 16931"/>
              <a:gd name="T65" fmla="*/ 4712 h 4712"/>
              <a:gd name="T66" fmla="*/ 16593 w 16931"/>
              <a:gd name="T67" fmla="*/ 4712 h 4712"/>
              <a:gd name="T68" fmla="*/ 16931 w 16931"/>
              <a:gd name="T69" fmla="*/ 4373 h 4712"/>
              <a:gd name="T70" fmla="*/ 16592 w 16931"/>
              <a:gd name="T71" fmla="*/ 4035 h 4712"/>
              <a:gd name="T72" fmla="*/ 13445 w 16931"/>
              <a:gd name="T73" fmla="*/ 359 h 4712"/>
              <a:gd name="T74" fmla="*/ 14289 w 16931"/>
              <a:gd name="T75" fmla="*/ 1196 h 4712"/>
              <a:gd name="T76" fmla="*/ 13445 w 16931"/>
              <a:gd name="T77" fmla="*/ 1196 h 4712"/>
              <a:gd name="T78" fmla="*/ 13445 w 16931"/>
              <a:gd name="T79" fmla="*/ 359 h 4712"/>
              <a:gd name="T80" fmla="*/ 13589 w 16931"/>
              <a:gd name="T81" fmla="*/ 3778 h 4712"/>
              <a:gd name="T82" fmla="*/ 12735 w 16931"/>
              <a:gd name="T83" fmla="*/ 2926 h 4712"/>
              <a:gd name="T84" fmla="*/ 13589 w 16931"/>
              <a:gd name="T85" fmla="*/ 2073 h 4712"/>
              <a:gd name="T86" fmla="*/ 14268 w 16931"/>
              <a:gd name="T87" fmla="*/ 2409 h 4712"/>
              <a:gd name="T88" fmla="*/ 13661 w 16931"/>
              <a:gd name="T89" fmla="*/ 3082 h 4712"/>
              <a:gd name="T90" fmla="*/ 13273 w 16931"/>
              <a:gd name="T91" fmla="*/ 2725 h 4712"/>
              <a:gd name="T92" fmla="*/ 13132 w 16931"/>
              <a:gd name="T93" fmla="*/ 2731 h 4712"/>
              <a:gd name="T94" fmla="*/ 13138 w 16931"/>
              <a:gd name="T95" fmla="*/ 2873 h 4712"/>
              <a:gd name="T96" fmla="*/ 13599 w 16931"/>
              <a:gd name="T97" fmla="*/ 3297 h 4712"/>
              <a:gd name="T98" fmla="*/ 13667 w 16931"/>
              <a:gd name="T99" fmla="*/ 3324 h 4712"/>
              <a:gd name="T100" fmla="*/ 13672 w 16931"/>
              <a:gd name="T101" fmla="*/ 3324 h 4712"/>
              <a:gd name="T102" fmla="*/ 13742 w 16931"/>
              <a:gd name="T103" fmla="*/ 3291 h 4712"/>
              <a:gd name="T104" fmla="*/ 14374 w 16931"/>
              <a:gd name="T105" fmla="*/ 2590 h 4712"/>
              <a:gd name="T106" fmla="*/ 14444 w 16931"/>
              <a:gd name="T107" fmla="*/ 2926 h 4712"/>
              <a:gd name="T108" fmla="*/ 13589 w 16931"/>
              <a:gd name="T109" fmla="*/ 3778 h 47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931" h="4712">
                <a:moveTo>
                  <a:pt x="16592" y="4035"/>
                </a:moveTo>
                <a:cubicBezTo>
                  <a:pt x="16305" y="4035"/>
                  <a:pt x="16305" y="4035"/>
                  <a:pt x="16305" y="4035"/>
                </a:cubicBezTo>
                <a:cubicBezTo>
                  <a:pt x="16542" y="4271"/>
                  <a:pt x="16542" y="4271"/>
                  <a:pt x="16542" y="4271"/>
                </a:cubicBezTo>
                <a:cubicBezTo>
                  <a:pt x="14839" y="4271"/>
                  <a:pt x="14839" y="4271"/>
                  <a:pt x="14839" y="4271"/>
                </a:cubicBezTo>
                <a:cubicBezTo>
                  <a:pt x="14734" y="4271"/>
                  <a:pt x="14649" y="4187"/>
                  <a:pt x="14649" y="4084"/>
                </a:cubicBezTo>
                <a:cubicBezTo>
                  <a:pt x="14649" y="1311"/>
                  <a:pt x="14649" y="1311"/>
                  <a:pt x="14649" y="1311"/>
                </a:cubicBezTo>
                <a:cubicBezTo>
                  <a:pt x="14649" y="1299"/>
                  <a:pt x="14646" y="1287"/>
                  <a:pt x="14642" y="1276"/>
                </a:cubicBezTo>
                <a:cubicBezTo>
                  <a:pt x="14638" y="1257"/>
                  <a:pt x="14629" y="1239"/>
                  <a:pt x="14614" y="1225"/>
                </a:cubicBezTo>
                <a:cubicBezTo>
                  <a:pt x="13415" y="31"/>
                  <a:pt x="13415" y="31"/>
                  <a:pt x="13415" y="31"/>
                </a:cubicBezTo>
                <a:cubicBezTo>
                  <a:pt x="13394" y="10"/>
                  <a:pt x="13364" y="0"/>
                  <a:pt x="13335" y="3"/>
                </a:cubicBezTo>
                <a:cubicBezTo>
                  <a:pt x="13333" y="2"/>
                  <a:pt x="13331" y="2"/>
                  <a:pt x="13328" y="2"/>
                </a:cubicBezTo>
                <a:cubicBezTo>
                  <a:pt x="11502" y="2"/>
                  <a:pt x="11502" y="2"/>
                  <a:pt x="11502" y="2"/>
                </a:cubicBezTo>
                <a:cubicBezTo>
                  <a:pt x="11447" y="2"/>
                  <a:pt x="11402" y="47"/>
                  <a:pt x="11402" y="102"/>
                </a:cubicBezTo>
                <a:cubicBezTo>
                  <a:pt x="11402" y="4084"/>
                  <a:pt x="11402" y="4084"/>
                  <a:pt x="11402" y="4084"/>
                </a:cubicBezTo>
                <a:cubicBezTo>
                  <a:pt x="11402" y="4187"/>
                  <a:pt x="11317" y="4271"/>
                  <a:pt x="11212" y="4271"/>
                </a:cubicBezTo>
                <a:cubicBezTo>
                  <a:pt x="0" y="4271"/>
                  <a:pt x="0" y="4271"/>
                  <a:pt x="0" y="4271"/>
                </a:cubicBezTo>
                <a:cubicBezTo>
                  <a:pt x="0" y="4472"/>
                  <a:pt x="0" y="4472"/>
                  <a:pt x="0" y="4472"/>
                </a:cubicBezTo>
                <a:cubicBezTo>
                  <a:pt x="11212" y="4472"/>
                  <a:pt x="11212" y="4472"/>
                  <a:pt x="11212" y="4472"/>
                </a:cubicBezTo>
                <a:cubicBezTo>
                  <a:pt x="11427" y="4472"/>
                  <a:pt x="11602" y="4298"/>
                  <a:pt x="11602" y="4084"/>
                </a:cubicBezTo>
                <a:cubicBezTo>
                  <a:pt x="11602" y="202"/>
                  <a:pt x="11602" y="202"/>
                  <a:pt x="11602" y="202"/>
                </a:cubicBezTo>
                <a:cubicBezTo>
                  <a:pt x="13244" y="202"/>
                  <a:pt x="13244" y="202"/>
                  <a:pt x="13244" y="202"/>
                </a:cubicBezTo>
                <a:cubicBezTo>
                  <a:pt x="13244" y="1296"/>
                  <a:pt x="13244" y="1296"/>
                  <a:pt x="13244" y="1296"/>
                </a:cubicBezTo>
                <a:cubicBezTo>
                  <a:pt x="13244" y="1351"/>
                  <a:pt x="13289" y="1396"/>
                  <a:pt x="13344" y="1396"/>
                </a:cubicBezTo>
                <a:cubicBezTo>
                  <a:pt x="14448" y="1396"/>
                  <a:pt x="14448" y="1396"/>
                  <a:pt x="14448" y="1396"/>
                </a:cubicBezTo>
                <a:cubicBezTo>
                  <a:pt x="14448" y="2316"/>
                  <a:pt x="14448" y="2316"/>
                  <a:pt x="14448" y="2316"/>
                </a:cubicBezTo>
                <a:cubicBezTo>
                  <a:pt x="14257" y="2048"/>
                  <a:pt x="13943" y="1873"/>
                  <a:pt x="13589" y="1873"/>
                </a:cubicBezTo>
                <a:cubicBezTo>
                  <a:pt x="13007" y="1873"/>
                  <a:pt x="12534" y="2345"/>
                  <a:pt x="12534" y="2926"/>
                </a:cubicBezTo>
                <a:cubicBezTo>
                  <a:pt x="12534" y="3506"/>
                  <a:pt x="13007" y="3979"/>
                  <a:pt x="13589" y="3979"/>
                </a:cubicBezTo>
                <a:cubicBezTo>
                  <a:pt x="13943" y="3979"/>
                  <a:pt x="14257" y="3803"/>
                  <a:pt x="14448" y="3535"/>
                </a:cubicBezTo>
                <a:cubicBezTo>
                  <a:pt x="14448" y="4084"/>
                  <a:pt x="14448" y="4084"/>
                  <a:pt x="14448" y="4084"/>
                </a:cubicBezTo>
                <a:cubicBezTo>
                  <a:pt x="14448" y="4298"/>
                  <a:pt x="14623" y="4472"/>
                  <a:pt x="14839" y="4472"/>
                </a:cubicBezTo>
                <a:cubicBezTo>
                  <a:pt x="16546" y="4472"/>
                  <a:pt x="16546" y="4472"/>
                  <a:pt x="16546" y="4472"/>
                </a:cubicBezTo>
                <a:cubicBezTo>
                  <a:pt x="16306" y="4712"/>
                  <a:pt x="16306" y="4712"/>
                  <a:pt x="16306" y="4712"/>
                </a:cubicBezTo>
                <a:cubicBezTo>
                  <a:pt x="16593" y="4712"/>
                  <a:pt x="16593" y="4712"/>
                  <a:pt x="16593" y="4712"/>
                </a:cubicBezTo>
                <a:cubicBezTo>
                  <a:pt x="16931" y="4373"/>
                  <a:pt x="16931" y="4373"/>
                  <a:pt x="16931" y="4373"/>
                </a:cubicBezTo>
                <a:lnTo>
                  <a:pt x="16592" y="4035"/>
                </a:lnTo>
                <a:close/>
                <a:moveTo>
                  <a:pt x="13445" y="359"/>
                </a:moveTo>
                <a:cubicBezTo>
                  <a:pt x="14289" y="1196"/>
                  <a:pt x="14289" y="1196"/>
                  <a:pt x="14289" y="1196"/>
                </a:cubicBezTo>
                <a:cubicBezTo>
                  <a:pt x="13445" y="1196"/>
                  <a:pt x="13445" y="1196"/>
                  <a:pt x="13445" y="1196"/>
                </a:cubicBezTo>
                <a:lnTo>
                  <a:pt x="13445" y="359"/>
                </a:lnTo>
                <a:close/>
                <a:moveTo>
                  <a:pt x="13589" y="3778"/>
                </a:moveTo>
                <a:cubicBezTo>
                  <a:pt x="13118" y="3778"/>
                  <a:pt x="12735" y="3396"/>
                  <a:pt x="12735" y="2926"/>
                </a:cubicBezTo>
                <a:cubicBezTo>
                  <a:pt x="12735" y="2456"/>
                  <a:pt x="13118" y="2073"/>
                  <a:pt x="13589" y="2073"/>
                </a:cubicBezTo>
                <a:cubicBezTo>
                  <a:pt x="13865" y="2073"/>
                  <a:pt x="14112" y="2205"/>
                  <a:pt x="14268" y="2409"/>
                </a:cubicBezTo>
                <a:cubicBezTo>
                  <a:pt x="13661" y="3082"/>
                  <a:pt x="13661" y="3082"/>
                  <a:pt x="13661" y="3082"/>
                </a:cubicBezTo>
                <a:cubicBezTo>
                  <a:pt x="13273" y="2725"/>
                  <a:pt x="13273" y="2725"/>
                  <a:pt x="13273" y="2725"/>
                </a:cubicBezTo>
                <a:cubicBezTo>
                  <a:pt x="13233" y="2688"/>
                  <a:pt x="13169" y="2691"/>
                  <a:pt x="13132" y="2731"/>
                </a:cubicBezTo>
                <a:cubicBezTo>
                  <a:pt x="13094" y="2772"/>
                  <a:pt x="13097" y="2835"/>
                  <a:pt x="13138" y="2873"/>
                </a:cubicBezTo>
                <a:cubicBezTo>
                  <a:pt x="13599" y="3297"/>
                  <a:pt x="13599" y="3297"/>
                  <a:pt x="13599" y="3297"/>
                </a:cubicBezTo>
                <a:cubicBezTo>
                  <a:pt x="13618" y="3315"/>
                  <a:pt x="13642" y="3324"/>
                  <a:pt x="13667" y="3324"/>
                </a:cubicBezTo>
                <a:cubicBezTo>
                  <a:pt x="13669" y="3324"/>
                  <a:pt x="13670" y="3324"/>
                  <a:pt x="13672" y="3324"/>
                </a:cubicBezTo>
                <a:cubicBezTo>
                  <a:pt x="13699" y="3323"/>
                  <a:pt x="13724" y="3311"/>
                  <a:pt x="13742" y="3291"/>
                </a:cubicBezTo>
                <a:cubicBezTo>
                  <a:pt x="14374" y="2590"/>
                  <a:pt x="14374" y="2590"/>
                  <a:pt x="14374" y="2590"/>
                </a:cubicBezTo>
                <a:cubicBezTo>
                  <a:pt x="14419" y="2693"/>
                  <a:pt x="14444" y="2807"/>
                  <a:pt x="14444" y="2926"/>
                </a:cubicBezTo>
                <a:cubicBezTo>
                  <a:pt x="14444" y="3396"/>
                  <a:pt x="14060" y="3778"/>
                  <a:pt x="13589" y="377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63A744D-A551-4373-9815-CBF079E6E7D8}"/>
              </a:ext>
            </a:extLst>
          </p:cNvPr>
          <p:cNvSpPr txBox="1"/>
          <p:nvPr/>
        </p:nvSpPr>
        <p:spPr>
          <a:xfrm>
            <a:off x="3368246" y="487800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673E1823-CF31-41A7-BDB0-7BB3EC46EE63}"/>
              </a:ext>
            </a:extLst>
          </p:cNvPr>
          <p:cNvSpPr txBox="1">
            <a:spLocks/>
          </p:cNvSpPr>
          <p:nvPr/>
        </p:nvSpPr>
        <p:spPr>
          <a:xfrm>
            <a:off x="449636" y="1242712"/>
            <a:ext cx="4895570" cy="2133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60000" indent="-36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Char char="―"/>
              <a:defRPr sz="14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720000" indent="-36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Char char="―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080000" indent="-36000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Char char="―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Trebuchet MS" panose="020B0603020202020204" pitchFamily="34" charset="0"/>
              <a:buNone/>
              <a:defRPr sz="1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rbon Lite is an insetting scheme delivering </a:t>
            </a:r>
            <a:r>
              <a:rPr kumimoji="0" lang="en-US" sz="12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ecarbonisation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of your supply chain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savings are real and have been made and verified by DNV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venues from the sale of declarations are used to fund our Zeremis journey, so we can move faster together towards our goal </a:t>
            </a:r>
            <a:endParaRPr kumimoji="0" lang="en-NL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NL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e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NL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vings can help you achieve your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targets and flow down supply chains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y buying Carbon Lite from Tata Steel Nederland you are contributing to a reduction in atmospheric CO</a:t>
            </a:r>
            <a:r>
              <a:rPr kumimoji="0" lang="en-US" sz="1200" b="0" i="0" u="none" strike="noStrike" kern="1200" cap="none" spc="0" normalizeH="0" baseline="-25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</a:p>
          <a:p>
            <a:pPr marL="359410" marR="0" lvl="1" indent="-35941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134"/>
              </a:spcAft>
              <a:buClrTx/>
              <a:buSzTx/>
              <a:buFont typeface="Trebuchet MS" panose="020B0603020202020204" pitchFamily="34" charset="0"/>
              <a:buChar char="―"/>
              <a:tabLst/>
              <a:defRPr/>
            </a:pPr>
            <a:endParaRPr kumimoji="0" lang="en-GB" sz="14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9993249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17413B-4C16-49C1-40F4-B0C840580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Reinvesting</a:t>
            </a:r>
            <a:br>
              <a:rPr lang="en-GB"/>
            </a:br>
            <a:r>
              <a:rPr lang="en-GB"/>
              <a:t>in the futur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3B67B4A-A0D5-DB4D-8E0C-C2B12BC9FA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FE1E9E-344E-898A-8911-CD6042CDA6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Freeform 9">
            <a:extLst>
              <a:ext uri="{FF2B5EF4-FFF2-40B4-BE49-F238E27FC236}">
                <a16:creationId xmlns:a16="http://schemas.microsoft.com/office/drawing/2014/main" id="{50D23905-2091-0A25-CD9B-41EC37F08E03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1136447"/>
            <a:ext cx="8586788" cy="3173832"/>
          </a:xfrm>
          <a:custGeom>
            <a:avLst/>
            <a:gdLst>
              <a:gd name="T0" fmla="*/ 8863 w 9054"/>
              <a:gd name="T1" fmla="*/ 2963 h 3345"/>
              <a:gd name="T2" fmla="*/ 8701 w 9054"/>
              <a:gd name="T3" fmla="*/ 2964 h 3345"/>
              <a:gd name="T4" fmla="*/ 8838 w 9054"/>
              <a:gd name="T5" fmla="*/ 3101 h 3345"/>
              <a:gd name="T6" fmla="*/ 8474 w 9054"/>
              <a:gd name="T7" fmla="*/ 3097 h 3345"/>
              <a:gd name="T8" fmla="*/ 8047 w 9054"/>
              <a:gd name="T9" fmla="*/ 3097 h 3345"/>
              <a:gd name="T10" fmla="*/ 7532 w 9054"/>
              <a:gd name="T11" fmla="*/ 3143 h 3345"/>
              <a:gd name="T12" fmla="*/ 7053 w 9054"/>
              <a:gd name="T13" fmla="*/ 3178 h 3345"/>
              <a:gd name="T14" fmla="*/ 6693 w 9054"/>
              <a:gd name="T15" fmla="*/ 2977 h 3345"/>
              <a:gd name="T16" fmla="*/ 6518 w 9054"/>
              <a:gd name="T17" fmla="*/ 2301 h 3345"/>
              <a:gd name="T18" fmla="*/ 6527 w 9054"/>
              <a:gd name="T19" fmla="*/ 1963 h 3345"/>
              <a:gd name="T20" fmla="*/ 7179 w 9054"/>
              <a:gd name="T21" fmla="*/ 1818 h 3345"/>
              <a:gd name="T22" fmla="*/ 7596 w 9054"/>
              <a:gd name="T23" fmla="*/ 1330 h 3345"/>
              <a:gd name="T24" fmla="*/ 7733 w 9054"/>
              <a:gd name="T25" fmla="*/ 917 h 3345"/>
              <a:gd name="T26" fmla="*/ 7679 w 9054"/>
              <a:gd name="T27" fmla="*/ 873 h 3345"/>
              <a:gd name="T28" fmla="*/ 6792 w 9054"/>
              <a:gd name="T29" fmla="*/ 1157 h 3345"/>
              <a:gd name="T30" fmla="*/ 6427 w 9054"/>
              <a:gd name="T31" fmla="*/ 1868 h 3345"/>
              <a:gd name="T32" fmla="*/ 6236 w 9054"/>
              <a:gd name="T33" fmla="*/ 1901 h 3345"/>
              <a:gd name="T34" fmla="*/ 6028 w 9054"/>
              <a:gd name="T35" fmla="*/ 508 h 3345"/>
              <a:gd name="T36" fmla="*/ 5391 w 9054"/>
              <a:gd name="T37" fmla="*/ 6 h 3345"/>
              <a:gd name="T38" fmla="*/ 5344 w 9054"/>
              <a:gd name="T39" fmla="*/ 8 h 3345"/>
              <a:gd name="T40" fmla="*/ 5316 w 9054"/>
              <a:gd name="T41" fmla="*/ 45 h 3345"/>
              <a:gd name="T42" fmla="*/ 5435 w 9054"/>
              <a:gd name="T43" fmla="*/ 1005 h 3345"/>
              <a:gd name="T44" fmla="*/ 5751 w 9054"/>
              <a:gd name="T45" fmla="*/ 1201 h 3345"/>
              <a:gd name="T46" fmla="*/ 6130 w 9054"/>
              <a:gd name="T47" fmla="*/ 1551 h 3345"/>
              <a:gd name="T48" fmla="*/ 6126 w 9054"/>
              <a:gd name="T49" fmla="*/ 2017 h 3345"/>
              <a:gd name="T50" fmla="*/ 6125 w 9054"/>
              <a:gd name="T51" fmla="*/ 2037 h 3345"/>
              <a:gd name="T52" fmla="*/ 6125 w 9054"/>
              <a:gd name="T53" fmla="*/ 2038 h 3345"/>
              <a:gd name="T54" fmla="*/ 6125 w 9054"/>
              <a:gd name="T55" fmla="*/ 2575 h 3345"/>
              <a:gd name="T56" fmla="*/ 6132 w 9054"/>
              <a:gd name="T57" fmla="*/ 2817 h 3345"/>
              <a:gd name="T58" fmla="*/ 5732 w 9054"/>
              <a:gd name="T59" fmla="*/ 3101 h 3345"/>
              <a:gd name="T60" fmla="*/ 0 w 9054"/>
              <a:gd name="T61" fmla="*/ 3101 h 3345"/>
              <a:gd name="T62" fmla="*/ 0 w 9054"/>
              <a:gd name="T63" fmla="*/ 3208 h 3345"/>
              <a:gd name="T64" fmla="*/ 5732 w 9054"/>
              <a:gd name="T65" fmla="*/ 3208 h 3345"/>
              <a:gd name="T66" fmla="*/ 6239 w 9054"/>
              <a:gd name="T67" fmla="*/ 2817 h 3345"/>
              <a:gd name="T68" fmla="*/ 6232 w 9054"/>
              <a:gd name="T69" fmla="*/ 2572 h 3345"/>
              <a:gd name="T70" fmla="*/ 6230 w 9054"/>
              <a:gd name="T71" fmla="*/ 2052 h 3345"/>
              <a:gd name="T72" fmla="*/ 6232 w 9054"/>
              <a:gd name="T73" fmla="*/ 2041 h 3345"/>
              <a:gd name="T74" fmla="*/ 6232 w 9054"/>
              <a:gd name="T75" fmla="*/ 2040 h 3345"/>
              <a:gd name="T76" fmla="*/ 6238 w 9054"/>
              <a:gd name="T77" fmla="*/ 2014 h 3345"/>
              <a:gd name="T78" fmla="*/ 6418 w 9054"/>
              <a:gd name="T79" fmla="*/ 1977 h 3345"/>
              <a:gd name="T80" fmla="*/ 6411 w 9054"/>
              <a:gd name="T81" fmla="*/ 2302 h 3345"/>
              <a:gd name="T82" fmla="*/ 7046 w 9054"/>
              <a:gd name="T83" fmla="*/ 3285 h 3345"/>
              <a:gd name="T84" fmla="*/ 7127 w 9054"/>
              <a:gd name="T85" fmla="*/ 3287 h 3345"/>
              <a:gd name="T86" fmla="*/ 7546 w 9054"/>
              <a:gd name="T87" fmla="*/ 3249 h 3345"/>
              <a:gd name="T88" fmla="*/ 8049 w 9054"/>
              <a:gd name="T89" fmla="*/ 3204 h 3345"/>
              <a:gd name="T90" fmla="*/ 8472 w 9054"/>
              <a:gd name="T91" fmla="*/ 3204 h 3345"/>
              <a:gd name="T92" fmla="*/ 8839 w 9054"/>
              <a:gd name="T93" fmla="*/ 3208 h 3345"/>
              <a:gd name="T94" fmla="*/ 8702 w 9054"/>
              <a:gd name="T95" fmla="*/ 3345 h 3345"/>
              <a:gd name="T96" fmla="*/ 8864 w 9054"/>
              <a:gd name="T97" fmla="*/ 3345 h 3345"/>
              <a:gd name="T98" fmla="*/ 9054 w 9054"/>
              <a:gd name="T99" fmla="*/ 3154 h 3345"/>
              <a:gd name="T100" fmla="*/ 8863 w 9054"/>
              <a:gd name="T101" fmla="*/ 2963 h 3345"/>
              <a:gd name="T102" fmla="*/ 6830 w 9054"/>
              <a:gd name="T103" fmla="*/ 1257 h 3345"/>
              <a:gd name="T104" fmla="*/ 7610 w 9054"/>
              <a:gd name="T105" fmla="*/ 1001 h 3345"/>
              <a:gd name="T106" fmla="*/ 7135 w 9054"/>
              <a:gd name="T107" fmla="*/ 1720 h 3345"/>
              <a:gd name="T108" fmla="*/ 6536 w 9054"/>
              <a:gd name="T109" fmla="*/ 1854 h 3345"/>
              <a:gd name="T110" fmla="*/ 6830 w 9054"/>
              <a:gd name="T111" fmla="*/ 1257 h 3345"/>
              <a:gd name="T112" fmla="*/ 5794 w 9054"/>
              <a:gd name="T113" fmla="*/ 1103 h 3345"/>
              <a:gd name="T114" fmla="*/ 5511 w 9054"/>
              <a:gd name="T115" fmla="*/ 930 h 3345"/>
              <a:gd name="T116" fmla="*/ 5410 w 9054"/>
              <a:gd name="T117" fmla="*/ 136 h 3345"/>
              <a:gd name="T118" fmla="*/ 5943 w 9054"/>
              <a:gd name="T119" fmla="*/ 574 h 3345"/>
              <a:gd name="T120" fmla="*/ 6120 w 9054"/>
              <a:gd name="T121" fmla="*/ 1318 h 3345"/>
              <a:gd name="T122" fmla="*/ 5794 w 9054"/>
              <a:gd name="T123" fmla="*/ 1103 h 33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9054" h="3345">
                <a:moveTo>
                  <a:pt x="8863" y="2963"/>
                </a:moveTo>
                <a:cubicBezTo>
                  <a:pt x="8701" y="2964"/>
                  <a:pt x="8701" y="2964"/>
                  <a:pt x="8701" y="2964"/>
                </a:cubicBezTo>
                <a:cubicBezTo>
                  <a:pt x="8838" y="3101"/>
                  <a:pt x="8838" y="3101"/>
                  <a:pt x="8838" y="3101"/>
                </a:cubicBezTo>
                <a:cubicBezTo>
                  <a:pt x="8664" y="3100"/>
                  <a:pt x="8560" y="3098"/>
                  <a:pt x="8474" y="3097"/>
                </a:cubicBezTo>
                <a:cubicBezTo>
                  <a:pt x="8349" y="3095"/>
                  <a:pt x="8259" y="3094"/>
                  <a:pt x="8047" y="3097"/>
                </a:cubicBezTo>
                <a:cubicBezTo>
                  <a:pt x="7860" y="3100"/>
                  <a:pt x="7693" y="3122"/>
                  <a:pt x="7532" y="3143"/>
                </a:cubicBezTo>
                <a:cubicBezTo>
                  <a:pt x="7362" y="3166"/>
                  <a:pt x="7202" y="3187"/>
                  <a:pt x="7053" y="3178"/>
                </a:cubicBezTo>
                <a:cubicBezTo>
                  <a:pt x="6952" y="3172"/>
                  <a:pt x="6808" y="3132"/>
                  <a:pt x="6693" y="2977"/>
                </a:cubicBezTo>
                <a:cubicBezTo>
                  <a:pt x="6580" y="2824"/>
                  <a:pt x="6521" y="2597"/>
                  <a:pt x="6518" y="2301"/>
                </a:cubicBezTo>
                <a:cubicBezTo>
                  <a:pt x="6517" y="2177"/>
                  <a:pt x="6520" y="2064"/>
                  <a:pt x="6527" y="1963"/>
                </a:cubicBezTo>
                <a:cubicBezTo>
                  <a:pt x="6733" y="1937"/>
                  <a:pt x="6985" y="1904"/>
                  <a:pt x="7179" y="1818"/>
                </a:cubicBezTo>
                <a:cubicBezTo>
                  <a:pt x="7371" y="1733"/>
                  <a:pt x="7512" y="1506"/>
                  <a:pt x="7596" y="1330"/>
                </a:cubicBezTo>
                <a:cubicBezTo>
                  <a:pt x="7675" y="1167"/>
                  <a:pt x="7742" y="962"/>
                  <a:pt x="7733" y="917"/>
                </a:cubicBezTo>
                <a:cubicBezTo>
                  <a:pt x="7727" y="891"/>
                  <a:pt x="7705" y="873"/>
                  <a:pt x="7679" y="873"/>
                </a:cubicBezTo>
                <a:cubicBezTo>
                  <a:pt x="7636" y="873"/>
                  <a:pt x="6990" y="1082"/>
                  <a:pt x="6792" y="1157"/>
                </a:cubicBezTo>
                <a:cubicBezTo>
                  <a:pt x="6583" y="1236"/>
                  <a:pt x="6467" y="1455"/>
                  <a:pt x="6427" y="1868"/>
                </a:cubicBezTo>
                <a:cubicBezTo>
                  <a:pt x="6342" y="1879"/>
                  <a:pt x="6280" y="1888"/>
                  <a:pt x="6236" y="1901"/>
                </a:cubicBezTo>
                <a:cubicBezTo>
                  <a:pt x="6253" y="1190"/>
                  <a:pt x="6182" y="709"/>
                  <a:pt x="6028" y="508"/>
                </a:cubicBezTo>
                <a:cubicBezTo>
                  <a:pt x="5777" y="182"/>
                  <a:pt x="5406" y="13"/>
                  <a:pt x="5391" y="6"/>
                </a:cubicBezTo>
                <a:cubicBezTo>
                  <a:pt x="5376" y="0"/>
                  <a:pt x="5359" y="0"/>
                  <a:pt x="5344" y="8"/>
                </a:cubicBezTo>
                <a:cubicBezTo>
                  <a:pt x="5330" y="15"/>
                  <a:pt x="5319" y="29"/>
                  <a:pt x="5316" y="45"/>
                </a:cubicBezTo>
                <a:cubicBezTo>
                  <a:pt x="5311" y="74"/>
                  <a:pt x="5185" y="751"/>
                  <a:pt x="5435" y="1005"/>
                </a:cubicBezTo>
                <a:cubicBezTo>
                  <a:pt x="5533" y="1104"/>
                  <a:pt x="5644" y="1153"/>
                  <a:pt x="5751" y="1201"/>
                </a:cubicBezTo>
                <a:cubicBezTo>
                  <a:pt x="5912" y="1272"/>
                  <a:pt x="6051" y="1334"/>
                  <a:pt x="6130" y="1551"/>
                </a:cubicBezTo>
                <a:cubicBezTo>
                  <a:pt x="6133" y="1688"/>
                  <a:pt x="6132" y="1842"/>
                  <a:pt x="6126" y="2017"/>
                </a:cubicBezTo>
                <a:cubicBezTo>
                  <a:pt x="6125" y="2037"/>
                  <a:pt x="6125" y="2037"/>
                  <a:pt x="6125" y="2037"/>
                </a:cubicBezTo>
                <a:cubicBezTo>
                  <a:pt x="6125" y="2038"/>
                  <a:pt x="6125" y="2038"/>
                  <a:pt x="6125" y="2038"/>
                </a:cubicBezTo>
                <a:cubicBezTo>
                  <a:pt x="6113" y="2134"/>
                  <a:pt x="6115" y="2300"/>
                  <a:pt x="6125" y="2575"/>
                </a:cubicBezTo>
                <a:cubicBezTo>
                  <a:pt x="6128" y="2668"/>
                  <a:pt x="6132" y="2756"/>
                  <a:pt x="6132" y="2817"/>
                </a:cubicBezTo>
                <a:cubicBezTo>
                  <a:pt x="6132" y="3001"/>
                  <a:pt x="5926" y="3101"/>
                  <a:pt x="5732" y="3101"/>
                </a:cubicBezTo>
                <a:cubicBezTo>
                  <a:pt x="0" y="3101"/>
                  <a:pt x="0" y="3101"/>
                  <a:pt x="0" y="3101"/>
                </a:cubicBezTo>
                <a:cubicBezTo>
                  <a:pt x="0" y="3208"/>
                  <a:pt x="0" y="3208"/>
                  <a:pt x="0" y="3208"/>
                </a:cubicBezTo>
                <a:cubicBezTo>
                  <a:pt x="5732" y="3208"/>
                  <a:pt x="5732" y="3208"/>
                  <a:pt x="5732" y="3208"/>
                </a:cubicBezTo>
                <a:cubicBezTo>
                  <a:pt x="5984" y="3208"/>
                  <a:pt x="6239" y="3074"/>
                  <a:pt x="6239" y="2817"/>
                </a:cubicBezTo>
                <a:cubicBezTo>
                  <a:pt x="6239" y="2754"/>
                  <a:pt x="6236" y="2666"/>
                  <a:pt x="6232" y="2572"/>
                </a:cubicBezTo>
                <a:cubicBezTo>
                  <a:pt x="6227" y="2420"/>
                  <a:pt x="6218" y="2159"/>
                  <a:pt x="6230" y="2052"/>
                </a:cubicBezTo>
                <a:cubicBezTo>
                  <a:pt x="6231" y="2048"/>
                  <a:pt x="6232" y="2045"/>
                  <a:pt x="6232" y="2041"/>
                </a:cubicBezTo>
                <a:cubicBezTo>
                  <a:pt x="6232" y="2040"/>
                  <a:pt x="6232" y="2040"/>
                  <a:pt x="6232" y="2040"/>
                </a:cubicBezTo>
                <a:cubicBezTo>
                  <a:pt x="6234" y="2029"/>
                  <a:pt x="6236" y="2020"/>
                  <a:pt x="6238" y="2014"/>
                </a:cubicBezTo>
                <a:cubicBezTo>
                  <a:pt x="6261" y="2000"/>
                  <a:pt x="6337" y="1988"/>
                  <a:pt x="6418" y="1977"/>
                </a:cubicBezTo>
                <a:cubicBezTo>
                  <a:pt x="6412" y="2076"/>
                  <a:pt x="6410" y="2184"/>
                  <a:pt x="6411" y="2302"/>
                </a:cubicBezTo>
                <a:cubicBezTo>
                  <a:pt x="6416" y="2894"/>
                  <a:pt x="6654" y="3261"/>
                  <a:pt x="7046" y="3285"/>
                </a:cubicBezTo>
                <a:cubicBezTo>
                  <a:pt x="7073" y="3286"/>
                  <a:pt x="7100" y="3287"/>
                  <a:pt x="7127" y="3287"/>
                </a:cubicBezTo>
                <a:cubicBezTo>
                  <a:pt x="7261" y="3287"/>
                  <a:pt x="7400" y="3269"/>
                  <a:pt x="7546" y="3249"/>
                </a:cubicBezTo>
                <a:cubicBezTo>
                  <a:pt x="7704" y="3229"/>
                  <a:pt x="7867" y="3207"/>
                  <a:pt x="8049" y="3204"/>
                </a:cubicBezTo>
                <a:cubicBezTo>
                  <a:pt x="8259" y="3201"/>
                  <a:pt x="8348" y="3202"/>
                  <a:pt x="8472" y="3204"/>
                </a:cubicBezTo>
                <a:cubicBezTo>
                  <a:pt x="8559" y="3206"/>
                  <a:pt x="8664" y="3207"/>
                  <a:pt x="8839" y="3208"/>
                </a:cubicBezTo>
                <a:cubicBezTo>
                  <a:pt x="8702" y="3345"/>
                  <a:pt x="8702" y="3345"/>
                  <a:pt x="8702" y="3345"/>
                </a:cubicBezTo>
                <a:cubicBezTo>
                  <a:pt x="8864" y="3345"/>
                  <a:pt x="8864" y="3345"/>
                  <a:pt x="8864" y="3345"/>
                </a:cubicBezTo>
                <a:cubicBezTo>
                  <a:pt x="9054" y="3154"/>
                  <a:pt x="9054" y="3154"/>
                  <a:pt x="9054" y="3154"/>
                </a:cubicBezTo>
                <a:lnTo>
                  <a:pt x="8863" y="2963"/>
                </a:lnTo>
                <a:close/>
                <a:moveTo>
                  <a:pt x="6830" y="1257"/>
                </a:moveTo>
                <a:cubicBezTo>
                  <a:pt x="7027" y="1182"/>
                  <a:pt x="7438" y="1052"/>
                  <a:pt x="7610" y="1001"/>
                </a:cubicBezTo>
                <a:cubicBezTo>
                  <a:pt x="7557" y="1177"/>
                  <a:pt x="7383" y="1610"/>
                  <a:pt x="7135" y="1720"/>
                </a:cubicBezTo>
                <a:cubicBezTo>
                  <a:pt x="6963" y="1797"/>
                  <a:pt x="6731" y="1829"/>
                  <a:pt x="6536" y="1854"/>
                </a:cubicBezTo>
                <a:cubicBezTo>
                  <a:pt x="6573" y="1507"/>
                  <a:pt x="6668" y="1318"/>
                  <a:pt x="6830" y="1257"/>
                </a:cubicBezTo>
                <a:close/>
                <a:moveTo>
                  <a:pt x="5794" y="1103"/>
                </a:moveTo>
                <a:cubicBezTo>
                  <a:pt x="5692" y="1057"/>
                  <a:pt x="5595" y="1014"/>
                  <a:pt x="5511" y="930"/>
                </a:cubicBezTo>
                <a:cubicBezTo>
                  <a:pt x="5356" y="772"/>
                  <a:pt x="5379" y="353"/>
                  <a:pt x="5410" y="136"/>
                </a:cubicBezTo>
                <a:cubicBezTo>
                  <a:pt x="5524" y="197"/>
                  <a:pt x="5768" y="346"/>
                  <a:pt x="5943" y="574"/>
                </a:cubicBezTo>
                <a:cubicBezTo>
                  <a:pt x="6003" y="652"/>
                  <a:pt x="6089" y="846"/>
                  <a:pt x="6120" y="1318"/>
                </a:cubicBezTo>
                <a:cubicBezTo>
                  <a:pt x="6027" y="1206"/>
                  <a:pt x="5909" y="1154"/>
                  <a:pt x="5794" y="110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711729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16761FD-1E2A-0661-5AB2-A785D3556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7428CB-C4E4-80E5-FE9A-682E611979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F9DA5DE-8253-E2E9-155E-A35B0533F3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5" y="2793600"/>
            <a:ext cx="3652476" cy="1275892"/>
          </a:xfrm>
        </p:spPr>
        <p:txBody>
          <a:bodyPr/>
          <a:lstStyle/>
          <a:p>
            <a:pPr lvl="4"/>
            <a:r>
              <a:rPr lang="en-GB"/>
              <a:t>In the true spirit of partnership, it’s our commitment that the value created with our </a:t>
            </a:r>
            <a:r>
              <a:rPr lang="en-GB" err="1"/>
              <a:t>Zeremis</a:t>
            </a:r>
            <a:r>
              <a:rPr lang="en-GB" baseline="30000"/>
              <a:t>®</a:t>
            </a:r>
            <a:r>
              <a:rPr lang="en-GB"/>
              <a:t> Carbon Lite sales will be used to fund our </a:t>
            </a:r>
            <a:r>
              <a:rPr lang="en-GB" err="1"/>
              <a:t>Zeremis</a:t>
            </a:r>
            <a:r>
              <a:rPr lang="en-GB"/>
              <a:t> journey, so we can move faster together towards our goal </a:t>
            </a:r>
          </a:p>
        </p:txBody>
      </p:sp>
    </p:spTree>
    <p:extLst>
      <p:ext uri="{BB962C8B-B14F-4D97-AF65-F5344CB8AC3E}">
        <p14:creationId xmlns:p14="http://schemas.microsoft.com/office/powerpoint/2010/main" val="3500324025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4AB911-2A5B-3CAC-9C82-AB16670FE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ogether towards a zero-carbon emissions, circular world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A12151-424B-8643-427E-57520D15AD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61B290E-2920-3005-5A5E-B86CADE97C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657226"/>
            <a:ext cx="8586787" cy="2644164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0B6892DB-7382-44F4-BEC2-C6C67E7D5D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5608" t="31182" r="22310" b="60352"/>
          <a:stretch/>
        </p:blipFill>
        <p:spPr bwMode="auto">
          <a:xfrm>
            <a:off x="3262745" y="398371"/>
            <a:ext cx="212292" cy="26905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kstvak 6">
            <a:extLst>
              <a:ext uri="{FF2B5EF4-FFF2-40B4-BE49-F238E27FC236}">
                <a16:creationId xmlns:a16="http://schemas.microsoft.com/office/drawing/2014/main" id="{C42C3323-9CDC-41E1-8ACD-379B710E8A1F}"/>
              </a:ext>
            </a:extLst>
          </p:cNvPr>
          <p:cNvSpPr txBox="1"/>
          <p:nvPr/>
        </p:nvSpPr>
        <p:spPr>
          <a:xfrm>
            <a:off x="3298971" y="487800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nl-NL" sz="1400" b="1">
                <a:solidFill>
                  <a:srgbClr val="002060"/>
                </a:solidFill>
              </a:rPr>
              <a:t>®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185A4C94-F87A-480F-B43A-0C6A814A39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289746962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B709DA-7250-4688-0F87-BC6A6863B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e journey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FAEAED-1EC9-A538-5BA2-C9FBC650D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B15794-3E21-9267-5961-4E4707AF6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2B4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2B4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7FB0C0C8-A5BB-4CFB-A50B-77910A57D571}"/>
              </a:ext>
            </a:extLst>
          </p:cNvPr>
          <p:cNvSpPr>
            <a:spLocks/>
          </p:cNvSpPr>
          <p:nvPr/>
        </p:nvSpPr>
        <p:spPr bwMode="auto">
          <a:xfrm>
            <a:off x="0" y="1302204"/>
            <a:ext cx="9144000" cy="2914650"/>
          </a:xfrm>
          <a:custGeom>
            <a:avLst/>
            <a:gdLst>
              <a:gd name="T0" fmla="*/ 8401 w 13279"/>
              <a:gd name="T1" fmla="*/ 4084 h 4231"/>
              <a:gd name="T2" fmla="*/ 9606 w 13279"/>
              <a:gd name="T3" fmla="*/ 3125 h 4231"/>
              <a:gd name="T4" fmla="*/ 7367 w 13279"/>
              <a:gd name="T5" fmla="*/ 2245 h 4231"/>
              <a:gd name="T6" fmla="*/ 6534 w 13279"/>
              <a:gd name="T7" fmla="*/ 2100 h 4231"/>
              <a:gd name="T8" fmla="*/ 6209 w 13279"/>
              <a:gd name="T9" fmla="*/ 1991 h 4231"/>
              <a:gd name="T10" fmla="*/ 7295 w 13279"/>
              <a:gd name="T11" fmla="*/ 1924 h 4231"/>
              <a:gd name="T12" fmla="*/ 10126 w 13279"/>
              <a:gd name="T13" fmla="*/ 1316 h 4231"/>
              <a:gd name="T14" fmla="*/ 8928 w 13279"/>
              <a:gd name="T15" fmla="*/ 640 h 4231"/>
              <a:gd name="T16" fmla="*/ 8539 w 13279"/>
              <a:gd name="T17" fmla="*/ 532 h 4231"/>
              <a:gd name="T18" fmla="*/ 11932 w 13279"/>
              <a:gd name="T19" fmla="*/ 325 h 4231"/>
              <a:gd name="T20" fmla="*/ 11757 w 13279"/>
              <a:gd name="T21" fmla="*/ 501 h 4231"/>
              <a:gd name="T22" fmla="*/ 11969 w 13279"/>
              <a:gd name="T23" fmla="*/ 501 h 4231"/>
              <a:gd name="T24" fmla="*/ 12220 w 13279"/>
              <a:gd name="T25" fmla="*/ 250 h 4231"/>
              <a:gd name="T26" fmla="*/ 11969 w 13279"/>
              <a:gd name="T27" fmla="*/ 0 h 4231"/>
              <a:gd name="T28" fmla="*/ 11757 w 13279"/>
              <a:gd name="T29" fmla="*/ 0 h 4231"/>
              <a:gd name="T30" fmla="*/ 11933 w 13279"/>
              <a:gd name="T31" fmla="*/ 176 h 4231"/>
              <a:gd name="T32" fmla="*/ 9988 w 13279"/>
              <a:gd name="T33" fmla="*/ 176 h 4231"/>
              <a:gd name="T34" fmla="*/ 8477 w 13279"/>
              <a:gd name="T35" fmla="*/ 208 h 4231"/>
              <a:gd name="T36" fmla="*/ 7533 w 13279"/>
              <a:gd name="T37" fmla="*/ 511 h 4231"/>
              <a:gd name="T38" fmla="*/ 8459 w 13279"/>
              <a:gd name="T39" fmla="*/ 1026 h 4231"/>
              <a:gd name="T40" fmla="*/ 8916 w 13279"/>
              <a:gd name="T41" fmla="*/ 1166 h 4231"/>
              <a:gd name="T42" fmla="*/ 9073 w 13279"/>
              <a:gd name="T43" fmla="*/ 1248 h 4231"/>
              <a:gd name="T44" fmla="*/ 7931 w 13279"/>
              <a:gd name="T45" fmla="*/ 1322 h 4231"/>
              <a:gd name="T46" fmla="*/ 5002 w 13279"/>
              <a:gd name="T47" fmla="*/ 1962 h 4231"/>
              <a:gd name="T48" fmla="*/ 6535 w 13279"/>
              <a:gd name="T49" fmla="*/ 2736 h 4231"/>
              <a:gd name="T50" fmla="*/ 7533 w 13279"/>
              <a:gd name="T51" fmla="*/ 3086 h 4231"/>
              <a:gd name="T52" fmla="*/ 6909 w 13279"/>
              <a:gd name="T53" fmla="*/ 3381 h 4231"/>
              <a:gd name="T54" fmla="*/ 5263 w 13279"/>
              <a:gd name="T55" fmla="*/ 3725 h 4231"/>
              <a:gd name="T56" fmla="*/ 1286 w 13279"/>
              <a:gd name="T57" fmla="*/ 4084 h 4231"/>
              <a:gd name="T58" fmla="*/ 0 w 13279"/>
              <a:gd name="T59" fmla="*/ 4084 h 4231"/>
              <a:gd name="T60" fmla="*/ 0 w 13279"/>
              <a:gd name="T61" fmla="*/ 4231 h 4231"/>
              <a:gd name="T62" fmla="*/ 1286 w 13279"/>
              <a:gd name="T63" fmla="*/ 4231 h 4231"/>
              <a:gd name="T64" fmla="*/ 5286 w 13279"/>
              <a:gd name="T65" fmla="*/ 3871 h 4231"/>
              <a:gd name="T66" fmla="*/ 6950 w 13279"/>
              <a:gd name="T67" fmla="*/ 3523 h 4231"/>
              <a:gd name="T68" fmla="*/ 7680 w 13279"/>
              <a:gd name="T69" fmla="*/ 3086 h 4231"/>
              <a:gd name="T70" fmla="*/ 6564 w 13279"/>
              <a:gd name="T71" fmla="*/ 2592 h 4231"/>
              <a:gd name="T72" fmla="*/ 5150 w 13279"/>
              <a:gd name="T73" fmla="*/ 1962 h 4231"/>
              <a:gd name="T74" fmla="*/ 6063 w 13279"/>
              <a:gd name="T75" fmla="*/ 1584 h 4231"/>
              <a:gd name="T76" fmla="*/ 7935 w 13279"/>
              <a:gd name="T77" fmla="*/ 1470 h 4231"/>
              <a:gd name="T78" fmla="*/ 8812 w 13279"/>
              <a:gd name="T79" fmla="*/ 1432 h 4231"/>
              <a:gd name="T80" fmla="*/ 9237 w 13279"/>
              <a:gd name="T81" fmla="*/ 1269 h 4231"/>
              <a:gd name="T82" fmla="*/ 8498 w 13279"/>
              <a:gd name="T83" fmla="*/ 884 h 4231"/>
              <a:gd name="T84" fmla="*/ 7680 w 13279"/>
              <a:gd name="T85" fmla="*/ 513 h 4231"/>
              <a:gd name="T86" fmla="*/ 8538 w 13279"/>
              <a:gd name="T87" fmla="*/ 352 h 4231"/>
              <a:gd name="T88" fmla="*/ 8786 w 13279"/>
              <a:gd name="T89" fmla="*/ 340 h 4231"/>
              <a:gd name="T90" fmla="*/ 8335 w 13279"/>
              <a:gd name="T91" fmla="*/ 524 h 4231"/>
              <a:gd name="T92" fmla="*/ 8893 w 13279"/>
              <a:gd name="T93" fmla="*/ 783 h 4231"/>
              <a:gd name="T94" fmla="*/ 9979 w 13279"/>
              <a:gd name="T95" fmla="*/ 1316 h 4231"/>
              <a:gd name="T96" fmla="*/ 9098 w 13279"/>
              <a:gd name="T97" fmla="*/ 1665 h 4231"/>
              <a:gd name="T98" fmla="*/ 7290 w 13279"/>
              <a:gd name="T99" fmla="*/ 1776 h 4231"/>
              <a:gd name="T100" fmla="*/ 6446 w 13279"/>
              <a:gd name="T101" fmla="*/ 1813 h 4231"/>
              <a:gd name="T102" fmla="*/ 6035 w 13279"/>
              <a:gd name="T103" fmla="*/ 1970 h 4231"/>
              <a:gd name="T104" fmla="*/ 7344 w 13279"/>
              <a:gd name="T105" fmla="*/ 2391 h 4231"/>
              <a:gd name="T106" fmla="*/ 8790 w 13279"/>
              <a:gd name="T107" fmla="*/ 2673 h 4231"/>
              <a:gd name="T108" fmla="*/ 9459 w 13279"/>
              <a:gd name="T109" fmla="*/ 3125 h 4231"/>
              <a:gd name="T110" fmla="*/ 8583 w 13279"/>
              <a:gd name="T111" fmla="*/ 3873 h 4231"/>
              <a:gd name="T112" fmla="*/ 7668 w 13279"/>
              <a:gd name="T113" fmla="*/ 4084 h 4231"/>
              <a:gd name="T114" fmla="*/ 7603 w 13279"/>
              <a:gd name="T115" fmla="*/ 4162 h 4231"/>
              <a:gd name="T116" fmla="*/ 7677 w 13279"/>
              <a:gd name="T117" fmla="*/ 4231 h 4231"/>
              <a:gd name="T118" fmla="*/ 13279 w 13279"/>
              <a:gd name="T119" fmla="*/ 4231 h 4231"/>
              <a:gd name="T120" fmla="*/ 13279 w 13279"/>
              <a:gd name="T121" fmla="*/ 4084 h 4231"/>
              <a:gd name="T122" fmla="*/ 8401 w 13279"/>
              <a:gd name="T123" fmla="*/ 4084 h 4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3279" h="4231">
                <a:moveTo>
                  <a:pt x="8401" y="4084"/>
                </a:moveTo>
                <a:cubicBezTo>
                  <a:pt x="8947" y="3931"/>
                  <a:pt x="9606" y="3640"/>
                  <a:pt x="9606" y="3125"/>
                </a:cubicBezTo>
                <a:cubicBezTo>
                  <a:pt x="9606" y="2592"/>
                  <a:pt x="8417" y="2408"/>
                  <a:pt x="7367" y="2245"/>
                </a:cubicBezTo>
                <a:cubicBezTo>
                  <a:pt x="7052" y="2196"/>
                  <a:pt x="6755" y="2150"/>
                  <a:pt x="6534" y="2100"/>
                </a:cubicBezTo>
                <a:cubicBezTo>
                  <a:pt x="6332" y="2054"/>
                  <a:pt x="6246" y="2015"/>
                  <a:pt x="6209" y="1991"/>
                </a:cubicBezTo>
                <a:cubicBezTo>
                  <a:pt x="6366" y="1952"/>
                  <a:pt x="6856" y="1937"/>
                  <a:pt x="7295" y="1924"/>
                </a:cubicBezTo>
                <a:cubicBezTo>
                  <a:pt x="8899" y="1875"/>
                  <a:pt x="10126" y="1799"/>
                  <a:pt x="10126" y="1316"/>
                </a:cubicBezTo>
                <a:cubicBezTo>
                  <a:pt x="10126" y="934"/>
                  <a:pt x="9462" y="771"/>
                  <a:pt x="8928" y="640"/>
                </a:cubicBezTo>
                <a:cubicBezTo>
                  <a:pt x="8791" y="606"/>
                  <a:pt x="8629" y="566"/>
                  <a:pt x="8539" y="532"/>
                </a:cubicBezTo>
                <a:cubicBezTo>
                  <a:pt x="8846" y="452"/>
                  <a:pt x="10046" y="360"/>
                  <a:pt x="11932" y="325"/>
                </a:cubicBezTo>
                <a:cubicBezTo>
                  <a:pt x="11757" y="501"/>
                  <a:pt x="11757" y="501"/>
                  <a:pt x="11757" y="501"/>
                </a:cubicBezTo>
                <a:cubicBezTo>
                  <a:pt x="11969" y="501"/>
                  <a:pt x="11969" y="501"/>
                  <a:pt x="11969" y="501"/>
                </a:cubicBezTo>
                <a:cubicBezTo>
                  <a:pt x="12220" y="250"/>
                  <a:pt x="12220" y="250"/>
                  <a:pt x="12220" y="250"/>
                </a:cubicBezTo>
                <a:cubicBezTo>
                  <a:pt x="11969" y="0"/>
                  <a:pt x="11969" y="0"/>
                  <a:pt x="11969" y="0"/>
                </a:cubicBezTo>
                <a:cubicBezTo>
                  <a:pt x="11757" y="0"/>
                  <a:pt x="11757" y="0"/>
                  <a:pt x="11757" y="0"/>
                </a:cubicBezTo>
                <a:cubicBezTo>
                  <a:pt x="11933" y="176"/>
                  <a:pt x="11933" y="176"/>
                  <a:pt x="11933" y="176"/>
                </a:cubicBezTo>
                <a:cubicBezTo>
                  <a:pt x="9988" y="176"/>
                  <a:pt x="9988" y="176"/>
                  <a:pt x="9988" y="176"/>
                </a:cubicBezTo>
                <a:cubicBezTo>
                  <a:pt x="9558" y="176"/>
                  <a:pt x="8970" y="175"/>
                  <a:pt x="8477" y="208"/>
                </a:cubicBezTo>
                <a:cubicBezTo>
                  <a:pt x="7806" y="253"/>
                  <a:pt x="7533" y="340"/>
                  <a:pt x="7533" y="511"/>
                </a:cubicBezTo>
                <a:cubicBezTo>
                  <a:pt x="7533" y="772"/>
                  <a:pt x="7983" y="896"/>
                  <a:pt x="8459" y="1026"/>
                </a:cubicBezTo>
                <a:cubicBezTo>
                  <a:pt x="8631" y="1074"/>
                  <a:pt x="8794" y="1118"/>
                  <a:pt x="8916" y="1166"/>
                </a:cubicBezTo>
                <a:cubicBezTo>
                  <a:pt x="9010" y="1202"/>
                  <a:pt x="9053" y="1230"/>
                  <a:pt x="9073" y="1248"/>
                </a:cubicBezTo>
                <a:cubicBezTo>
                  <a:pt x="8926" y="1293"/>
                  <a:pt x="8400" y="1308"/>
                  <a:pt x="7931" y="1322"/>
                </a:cubicBezTo>
                <a:cubicBezTo>
                  <a:pt x="6271" y="1371"/>
                  <a:pt x="5002" y="1449"/>
                  <a:pt x="5002" y="1962"/>
                </a:cubicBezTo>
                <a:cubicBezTo>
                  <a:pt x="5002" y="2429"/>
                  <a:pt x="5781" y="2585"/>
                  <a:pt x="6535" y="2736"/>
                </a:cubicBezTo>
                <a:cubicBezTo>
                  <a:pt x="6956" y="2821"/>
                  <a:pt x="7533" y="2937"/>
                  <a:pt x="7533" y="3086"/>
                </a:cubicBezTo>
                <a:cubicBezTo>
                  <a:pt x="7533" y="3087"/>
                  <a:pt x="7526" y="3201"/>
                  <a:pt x="6909" y="3381"/>
                </a:cubicBezTo>
                <a:cubicBezTo>
                  <a:pt x="6509" y="3498"/>
                  <a:pt x="5939" y="3617"/>
                  <a:pt x="5263" y="3725"/>
                </a:cubicBezTo>
                <a:cubicBezTo>
                  <a:pt x="3905" y="3943"/>
                  <a:pt x="2344" y="4084"/>
                  <a:pt x="1286" y="4084"/>
                </a:cubicBezTo>
                <a:cubicBezTo>
                  <a:pt x="0" y="4084"/>
                  <a:pt x="0" y="4084"/>
                  <a:pt x="0" y="4084"/>
                </a:cubicBezTo>
                <a:cubicBezTo>
                  <a:pt x="0" y="4231"/>
                  <a:pt x="0" y="4231"/>
                  <a:pt x="0" y="4231"/>
                </a:cubicBezTo>
                <a:cubicBezTo>
                  <a:pt x="1286" y="4231"/>
                  <a:pt x="1286" y="4231"/>
                  <a:pt x="1286" y="4231"/>
                </a:cubicBezTo>
                <a:cubicBezTo>
                  <a:pt x="2351" y="4231"/>
                  <a:pt x="3921" y="4090"/>
                  <a:pt x="5286" y="3871"/>
                </a:cubicBezTo>
                <a:cubicBezTo>
                  <a:pt x="5969" y="3762"/>
                  <a:pt x="6544" y="3641"/>
                  <a:pt x="6950" y="3523"/>
                </a:cubicBezTo>
                <a:cubicBezTo>
                  <a:pt x="7597" y="3334"/>
                  <a:pt x="7680" y="3190"/>
                  <a:pt x="7680" y="3086"/>
                </a:cubicBezTo>
                <a:cubicBezTo>
                  <a:pt x="7680" y="2816"/>
                  <a:pt x="7188" y="2717"/>
                  <a:pt x="6564" y="2592"/>
                </a:cubicBezTo>
                <a:cubicBezTo>
                  <a:pt x="5934" y="2465"/>
                  <a:pt x="5150" y="2308"/>
                  <a:pt x="5150" y="1962"/>
                </a:cubicBezTo>
                <a:cubicBezTo>
                  <a:pt x="5150" y="1742"/>
                  <a:pt x="5722" y="1631"/>
                  <a:pt x="6063" y="1584"/>
                </a:cubicBezTo>
                <a:cubicBezTo>
                  <a:pt x="6623" y="1508"/>
                  <a:pt x="7320" y="1488"/>
                  <a:pt x="7935" y="1470"/>
                </a:cubicBezTo>
                <a:cubicBezTo>
                  <a:pt x="8286" y="1459"/>
                  <a:pt x="8589" y="1450"/>
                  <a:pt x="8812" y="1432"/>
                </a:cubicBezTo>
                <a:cubicBezTo>
                  <a:pt x="9094" y="1410"/>
                  <a:pt x="9237" y="1378"/>
                  <a:pt x="9237" y="1269"/>
                </a:cubicBezTo>
                <a:cubicBezTo>
                  <a:pt x="9237" y="1087"/>
                  <a:pt x="8927" y="1002"/>
                  <a:pt x="8498" y="884"/>
                </a:cubicBezTo>
                <a:cubicBezTo>
                  <a:pt x="8174" y="795"/>
                  <a:pt x="7684" y="661"/>
                  <a:pt x="7680" y="513"/>
                </a:cubicBezTo>
                <a:cubicBezTo>
                  <a:pt x="7688" y="498"/>
                  <a:pt x="7769" y="399"/>
                  <a:pt x="8538" y="352"/>
                </a:cubicBezTo>
                <a:cubicBezTo>
                  <a:pt x="8619" y="347"/>
                  <a:pt x="8702" y="343"/>
                  <a:pt x="8786" y="340"/>
                </a:cubicBezTo>
                <a:cubicBezTo>
                  <a:pt x="8407" y="389"/>
                  <a:pt x="8335" y="442"/>
                  <a:pt x="8335" y="524"/>
                </a:cubicBezTo>
                <a:cubicBezTo>
                  <a:pt x="8335" y="645"/>
                  <a:pt x="8510" y="689"/>
                  <a:pt x="8893" y="783"/>
                </a:cubicBezTo>
                <a:cubicBezTo>
                  <a:pt x="9325" y="889"/>
                  <a:pt x="9979" y="1050"/>
                  <a:pt x="9979" y="1316"/>
                </a:cubicBezTo>
                <a:cubicBezTo>
                  <a:pt x="9979" y="1403"/>
                  <a:pt x="9864" y="1563"/>
                  <a:pt x="9098" y="1665"/>
                </a:cubicBezTo>
                <a:cubicBezTo>
                  <a:pt x="8557" y="1737"/>
                  <a:pt x="7855" y="1759"/>
                  <a:pt x="7290" y="1776"/>
                </a:cubicBezTo>
                <a:cubicBezTo>
                  <a:pt x="6952" y="1787"/>
                  <a:pt x="6661" y="1795"/>
                  <a:pt x="6446" y="1813"/>
                </a:cubicBezTo>
                <a:cubicBezTo>
                  <a:pt x="6167" y="1835"/>
                  <a:pt x="6035" y="1864"/>
                  <a:pt x="6035" y="1970"/>
                </a:cubicBezTo>
                <a:cubicBezTo>
                  <a:pt x="6035" y="2179"/>
                  <a:pt x="6460" y="2254"/>
                  <a:pt x="7344" y="2391"/>
                </a:cubicBezTo>
                <a:cubicBezTo>
                  <a:pt x="7827" y="2465"/>
                  <a:pt x="8373" y="2550"/>
                  <a:pt x="8790" y="2673"/>
                </a:cubicBezTo>
                <a:cubicBezTo>
                  <a:pt x="9234" y="2803"/>
                  <a:pt x="9459" y="2955"/>
                  <a:pt x="9459" y="3125"/>
                </a:cubicBezTo>
                <a:cubicBezTo>
                  <a:pt x="9459" y="3497"/>
                  <a:pt x="8982" y="3737"/>
                  <a:pt x="8583" y="3873"/>
                </a:cubicBezTo>
                <a:cubicBezTo>
                  <a:pt x="8131" y="4026"/>
                  <a:pt x="7672" y="4084"/>
                  <a:pt x="7668" y="4084"/>
                </a:cubicBezTo>
                <a:cubicBezTo>
                  <a:pt x="7629" y="4089"/>
                  <a:pt x="7601" y="4123"/>
                  <a:pt x="7603" y="4162"/>
                </a:cubicBezTo>
                <a:cubicBezTo>
                  <a:pt x="7605" y="4201"/>
                  <a:pt x="7638" y="4231"/>
                  <a:pt x="7677" y="4231"/>
                </a:cubicBezTo>
                <a:cubicBezTo>
                  <a:pt x="13279" y="4231"/>
                  <a:pt x="13279" y="4231"/>
                  <a:pt x="13279" y="4231"/>
                </a:cubicBezTo>
                <a:cubicBezTo>
                  <a:pt x="13279" y="4084"/>
                  <a:pt x="13279" y="4084"/>
                  <a:pt x="13279" y="4084"/>
                </a:cubicBezTo>
                <a:lnTo>
                  <a:pt x="8401" y="408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5913417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B1AB27-36D4-811E-A124-45DA25846F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4"/>
            <a:r>
              <a:rPr lang="en-GB" err="1"/>
              <a:t>Zeremis</a:t>
            </a:r>
            <a:r>
              <a:rPr lang="en-GB"/>
              <a:t> – short for zero emissions –</a:t>
            </a:r>
          </a:p>
          <a:p>
            <a:pPr lvl="4"/>
            <a:r>
              <a:rPr lang="en-GB"/>
              <a:t>is our promise to the planet to become carbon neutral by 2045. The </a:t>
            </a:r>
            <a:r>
              <a:rPr lang="en-GB" err="1"/>
              <a:t>Zeremis</a:t>
            </a:r>
            <a:r>
              <a:rPr lang="en-GB"/>
              <a:t> brand</a:t>
            </a:r>
          </a:p>
          <a:p>
            <a:pPr lvl="4"/>
            <a:r>
              <a:rPr lang="en-GB"/>
              <a:t>represents the journey Tata Steel Nederland is</a:t>
            </a:r>
          </a:p>
          <a:p>
            <a:pPr lvl="4"/>
            <a:r>
              <a:rPr lang="en-GB"/>
              <a:t>taking with our customers, together towards a</a:t>
            </a:r>
          </a:p>
          <a:p>
            <a:pPr lvl="4"/>
            <a:r>
              <a:rPr lang="en-GB"/>
              <a:t>zero-carbon emissions, circular world.</a:t>
            </a:r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0F97C9FE-D097-BA83-6D95-08A1D3334EF0}"/>
              </a:ext>
            </a:extLst>
          </p:cNvPr>
          <p:cNvSpPr>
            <a:spLocks noEditPoints="1"/>
          </p:cNvSpPr>
          <p:nvPr/>
        </p:nvSpPr>
        <p:spPr bwMode="auto">
          <a:xfrm>
            <a:off x="32472" y="1999538"/>
            <a:ext cx="8586786" cy="2608833"/>
          </a:xfrm>
          <a:custGeom>
            <a:avLst/>
            <a:gdLst>
              <a:gd name="T0" fmla="*/ 15691 w 16322"/>
              <a:gd name="T1" fmla="*/ 698 h 4960"/>
              <a:gd name="T2" fmla="*/ 15935 w 16322"/>
              <a:gd name="T3" fmla="*/ 944 h 4960"/>
              <a:gd name="T4" fmla="*/ 14462 w 16322"/>
              <a:gd name="T5" fmla="*/ 714 h 4960"/>
              <a:gd name="T6" fmla="*/ 14230 w 16322"/>
              <a:gd name="T7" fmla="*/ 608 h 4960"/>
              <a:gd name="T8" fmla="*/ 10126 w 16322"/>
              <a:gd name="T9" fmla="*/ 2480 h 4960"/>
              <a:gd name="T10" fmla="*/ 0 w 16322"/>
              <a:gd name="T11" fmla="*/ 4768 h 4960"/>
              <a:gd name="T12" fmla="*/ 12616 w 16322"/>
              <a:gd name="T13" fmla="*/ 4960 h 4960"/>
              <a:gd name="T14" fmla="*/ 14681 w 16322"/>
              <a:gd name="T15" fmla="*/ 3836 h 4960"/>
              <a:gd name="T16" fmla="*/ 14687 w 16322"/>
              <a:gd name="T17" fmla="*/ 3827 h 4960"/>
              <a:gd name="T18" fmla="*/ 14579 w 16322"/>
              <a:gd name="T19" fmla="*/ 980 h 4960"/>
              <a:gd name="T20" fmla="*/ 15936 w 16322"/>
              <a:gd name="T21" fmla="*/ 1136 h 4960"/>
              <a:gd name="T22" fmla="*/ 15982 w 16322"/>
              <a:gd name="T23" fmla="*/ 1380 h 4960"/>
              <a:gd name="T24" fmla="*/ 15980 w 16322"/>
              <a:gd name="T25" fmla="*/ 697 h 4960"/>
              <a:gd name="T26" fmla="*/ 10318 w 16322"/>
              <a:gd name="T27" fmla="*/ 2480 h 4960"/>
              <a:gd name="T28" fmla="*/ 13645 w 16322"/>
              <a:gd name="T29" fmla="*/ 442 h 4960"/>
              <a:gd name="T30" fmla="*/ 12124 w 16322"/>
              <a:gd name="T31" fmla="*/ 753 h 4960"/>
              <a:gd name="T32" fmla="*/ 11863 w 16322"/>
              <a:gd name="T33" fmla="*/ 664 h 4960"/>
              <a:gd name="T34" fmla="*/ 11428 w 16322"/>
              <a:gd name="T35" fmla="*/ 1091 h 4960"/>
              <a:gd name="T36" fmla="*/ 11413 w 16322"/>
              <a:gd name="T37" fmla="*/ 1106 h 4960"/>
              <a:gd name="T38" fmla="*/ 11193 w 16322"/>
              <a:gd name="T39" fmla="*/ 1509 h 4960"/>
              <a:gd name="T40" fmla="*/ 11644 w 16322"/>
              <a:gd name="T41" fmla="*/ 1574 h 4960"/>
              <a:gd name="T42" fmla="*/ 11784 w 16322"/>
              <a:gd name="T43" fmla="*/ 1519 h 4960"/>
              <a:gd name="T44" fmla="*/ 11953 w 16322"/>
              <a:gd name="T45" fmla="*/ 1588 h 4960"/>
              <a:gd name="T46" fmla="*/ 11668 w 16322"/>
              <a:gd name="T47" fmla="*/ 1745 h 4960"/>
              <a:gd name="T48" fmla="*/ 10842 w 16322"/>
              <a:gd name="T49" fmla="*/ 2263 h 4960"/>
              <a:gd name="T50" fmla="*/ 10993 w 16322"/>
              <a:gd name="T51" fmla="*/ 2848 h 4960"/>
              <a:gd name="T52" fmla="*/ 11014 w 16322"/>
              <a:gd name="T53" fmla="*/ 2854 h 4960"/>
              <a:gd name="T54" fmla="*/ 11724 w 16322"/>
              <a:gd name="T55" fmla="*/ 4128 h 4960"/>
              <a:gd name="T56" fmla="*/ 11738 w 16322"/>
              <a:gd name="T57" fmla="*/ 4139 h 4960"/>
              <a:gd name="T58" fmla="*/ 12060 w 16322"/>
              <a:gd name="T59" fmla="*/ 4199 h 4960"/>
              <a:gd name="T60" fmla="*/ 12609 w 16322"/>
              <a:gd name="T61" fmla="*/ 3089 h 4960"/>
              <a:gd name="T62" fmla="*/ 12811 w 16322"/>
              <a:gd name="T63" fmla="*/ 2632 h 4960"/>
              <a:gd name="T64" fmla="*/ 13155 w 16322"/>
              <a:gd name="T65" fmla="*/ 2389 h 4960"/>
              <a:gd name="T66" fmla="*/ 13337 w 16322"/>
              <a:gd name="T67" fmla="*/ 2689 h 4960"/>
              <a:gd name="T68" fmla="*/ 14142 w 16322"/>
              <a:gd name="T69" fmla="*/ 2375 h 4960"/>
              <a:gd name="T70" fmla="*/ 14327 w 16322"/>
              <a:gd name="T71" fmla="*/ 2226 h 4960"/>
              <a:gd name="T72" fmla="*/ 14280 w 16322"/>
              <a:gd name="T73" fmla="*/ 2546 h 4960"/>
              <a:gd name="T74" fmla="*/ 14396 w 16322"/>
              <a:gd name="T75" fmla="*/ 3242 h 4960"/>
              <a:gd name="T76" fmla="*/ 12606 w 16322"/>
              <a:gd name="T77" fmla="*/ 4768 h 4960"/>
              <a:gd name="T78" fmla="*/ 14523 w 16322"/>
              <a:gd name="T79" fmla="*/ 3099 h 4960"/>
              <a:gd name="T80" fmla="*/ 14455 w 16322"/>
              <a:gd name="T81" fmla="*/ 2624 h 4960"/>
              <a:gd name="T82" fmla="*/ 14476 w 16322"/>
              <a:gd name="T83" fmla="*/ 2105 h 4960"/>
              <a:gd name="T84" fmla="*/ 13969 w 16322"/>
              <a:gd name="T85" fmla="*/ 2291 h 4960"/>
              <a:gd name="T86" fmla="*/ 13659 w 16322"/>
              <a:gd name="T87" fmla="*/ 2686 h 4960"/>
              <a:gd name="T88" fmla="*/ 13412 w 16322"/>
              <a:gd name="T89" fmla="*/ 2425 h 4960"/>
              <a:gd name="T90" fmla="*/ 12678 w 16322"/>
              <a:gd name="T91" fmla="*/ 2372 h 4960"/>
              <a:gd name="T92" fmla="*/ 12511 w 16322"/>
              <a:gd name="T93" fmla="*/ 2907 h 4960"/>
              <a:gd name="T94" fmla="*/ 12356 w 16322"/>
              <a:gd name="T95" fmla="*/ 3264 h 4960"/>
              <a:gd name="T96" fmla="*/ 11855 w 16322"/>
              <a:gd name="T97" fmla="*/ 3987 h 4960"/>
              <a:gd name="T98" fmla="*/ 11057 w 16322"/>
              <a:gd name="T99" fmla="*/ 2667 h 4960"/>
              <a:gd name="T100" fmla="*/ 11033 w 16322"/>
              <a:gd name="T101" fmla="*/ 2277 h 4960"/>
              <a:gd name="T102" fmla="*/ 12146 w 16322"/>
              <a:gd name="T103" fmla="*/ 1915 h 4960"/>
              <a:gd name="T104" fmla="*/ 12143 w 16322"/>
              <a:gd name="T105" fmla="*/ 1498 h 4960"/>
              <a:gd name="T106" fmla="*/ 11554 w 16322"/>
              <a:gd name="T107" fmla="*/ 1405 h 4960"/>
              <a:gd name="T108" fmla="*/ 11368 w 16322"/>
              <a:gd name="T109" fmla="*/ 1430 h 4960"/>
              <a:gd name="T110" fmla="*/ 11558 w 16322"/>
              <a:gd name="T111" fmla="*/ 1232 h 4960"/>
              <a:gd name="T112" fmla="*/ 11892 w 16322"/>
              <a:gd name="T113" fmla="*/ 854 h 4960"/>
              <a:gd name="T114" fmla="*/ 12753 w 16322"/>
              <a:gd name="T115" fmla="*/ 867 h 4960"/>
              <a:gd name="T116" fmla="*/ 14894 w 16322"/>
              <a:gd name="T117" fmla="*/ 2480 h 4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322" h="4960">
                <a:moveTo>
                  <a:pt x="15980" y="697"/>
                </a:moveTo>
                <a:cubicBezTo>
                  <a:pt x="15691" y="698"/>
                  <a:pt x="15691" y="698"/>
                  <a:pt x="15691" y="698"/>
                </a:cubicBezTo>
                <a:cubicBezTo>
                  <a:pt x="15938" y="944"/>
                  <a:pt x="15938" y="944"/>
                  <a:pt x="15938" y="944"/>
                </a:cubicBezTo>
                <a:cubicBezTo>
                  <a:pt x="15937" y="944"/>
                  <a:pt x="15936" y="944"/>
                  <a:pt x="15935" y="944"/>
                </a:cubicBezTo>
                <a:cubicBezTo>
                  <a:pt x="15915" y="945"/>
                  <a:pt x="15900" y="945"/>
                  <a:pt x="15713" y="945"/>
                </a:cubicBezTo>
                <a:cubicBezTo>
                  <a:pt x="14926" y="945"/>
                  <a:pt x="14711" y="838"/>
                  <a:pt x="14462" y="714"/>
                </a:cubicBezTo>
                <a:cubicBezTo>
                  <a:pt x="14391" y="679"/>
                  <a:pt x="14319" y="643"/>
                  <a:pt x="14231" y="608"/>
                </a:cubicBezTo>
                <a:cubicBezTo>
                  <a:pt x="14231" y="608"/>
                  <a:pt x="14231" y="608"/>
                  <a:pt x="14230" y="608"/>
                </a:cubicBezTo>
                <a:cubicBezTo>
                  <a:pt x="13795" y="230"/>
                  <a:pt x="13227" y="0"/>
                  <a:pt x="12606" y="0"/>
                </a:cubicBezTo>
                <a:cubicBezTo>
                  <a:pt x="11238" y="0"/>
                  <a:pt x="10126" y="1113"/>
                  <a:pt x="10126" y="2480"/>
                </a:cubicBezTo>
                <a:cubicBezTo>
                  <a:pt x="10126" y="3509"/>
                  <a:pt x="10756" y="4393"/>
                  <a:pt x="11650" y="4768"/>
                </a:cubicBezTo>
                <a:cubicBezTo>
                  <a:pt x="0" y="4768"/>
                  <a:pt x="0" y="4768"/>
                  <a:pt x="0" y="4768"/>
                </a:cubicBezTo>
                <a:cubicBezTo>
                  <a:pt x="0" y="4960"/>
                  <a:pt x="0" y="4960"/>
                  <a:pt x="0" y="4960"/>
                </a:cubicBezTo>
                <a:cubicBezTo>
                  <a:pt x="12616" y="4960"/>
                  <a:pt x="12616" y="4960"/>
                  <a:pt x="12616" y="4960"/>
                </a:cubicBezTo>
                <a:cubicBezTo>
                  <a:pt x="12616" y="4960"/>
                  <a:pt x="12616" y="4960"/>
                  <a:pt x="12616" y="4960"/>
                </a:cubicBezTo>
                <a:cubicBezTo>
                  <a:pt x="13479" y="4957"/>
                  <a:pt x="14240" y="4510"/>
                  <a:pt x="14681" y="3836"/>
                </a:cubicBezTo>
                <a:cubicBezTo>
                  <a:pt x="14682" y="3836"/>
                  <a:pt x="14682" y="3836"/>
                  <a:pt x="14682" y="3836"/>
                </a:cubicBezTo>
                <a:cubicBezTo>
                  <a:pt x="14684" y="3833"/>
                  <a:pt x="14686" y="3830"/>
                  <a:pt x="14687" y="3827"/>
                </a:cubicBezTo>
                <a:cubicBezTo>
                  <a:pt x="14939" y="3439"/>
                  <a:pt x="15086" y="2976"/>
                  <a:pt x="15086" y="2480"/>
                </a:cubicBezTo>
                <a:cubicBezTo>
                  <a:pt x="15086" y="1917"/>
                  <a:pt x="14897" y="1397"/>
                  <a:pt x="14579" y="980"/>
                </a:cubicBezTo>
                <a:cubicBezTo>
                  <a:pt x="14796" y="1068"/>
                  <a:pt x="15090" y="1137"/>
                  <a:pt x="15713" y="1137"/>
                </a:cubicBezTo>
                <a:cubicBezTo>
                  <a:pt x="15892" y="1137"/>
                  <a:pt x="15916" y="1136"/>
                  <a:pt x="15936" y="1136"/>
                </a:cubicBezTo>
                <a:cubicBezTo>
                  <a:pt x="15692" y="1381"/>
                  <a:pt x="15692" y="1381"/>
                  <a:pt x="15692" y="1381"/>
                </a:cubicBezTo>
                <a:cubicBezTo>
                  <a:pt x="15982" y="1380"/>
                  <a:pt x="15982" y="1380"/>
                  <a:pt x="15982" y="1380"/>
                </a:cubicBezTo>
                <a:cubicBezTo>
                  <a:pt x="16322" y="1038"/>
                  <a:pt x="16322" y="1038"/>
                  <a:pt x="16322" y="1038"/>
                </a:cubicBezTo>
                <a:lnTo>
                  <a:pt x="15980" y="697"/>
                </a:lnTo>
                <a:close/>
                <a:moveTo>
                  <a:pt x="12606" y="4768"/>
                </a:moveTo>
                <a:cubicBezTo>
                  <a:pt x="11344" y="4768"/>
                  <a:pt x="10318" y="3742"/>
                  <a:pt x="10318" y="2480"/>
                </a:cubicBezTo>
                <a:cubicBezTo>
                  <a:pt x="10318" y="1218"/>
                  <a:pt x="11344" y="192"/>
                  <a:pt x="12606" y="192"/>
                </a:cubicBezTo>
                <a:cubicBezTo>
                  <a:pt x="12980" y="192"/>
                  <a:pt x="13333" y="282"/>
                  <a:pt x="13645" y="442"/>
                </a:cubicBezTo>
                <a:cubicBezTo>
                  <a:pt x="13201" y="399"/>
                  <a:pt x="12898" y="567"/>
                  <a:pt x="12660" y="700"/>
                </a:cubicBezTo>
                <a:cubicBezTo>
                  <a:pt x="12405" y="841"/>
                  <a:pt x="12286" y="898"/>
                  <a:pt x="12124" y="753"/>
                </a:cubicBezTo>
                <a:cubicBezTo>
                  <a:pt x="12120" y="749"/>
                  <a:pt x="12120" y="749"/>
                  <a:pt x="12120" y="749"/>
                </a:cubicBezTo>
                <a:cubicBezTo>
                  <a:pt x="12033" y="680"/>
                  <a:pt x="11946" y="652"/>
                  <a:pt x="11863" y="664"/>
                </a:cubicBezTo>
                <a:cubicBezTo>
                  <a:pt x="11724" y="685"/>
                  <a:pt x="11634" y="816"/>
                  <a:pt x="11556" y="931"/>
                </a:cubicBezTo>
                <a:cubicBezTo>
                  <a:pt x="11514" y="992"/>
                  <a:pt x="11471" y="1056"/>
                  <a:pt x="11428" y="1091"/>
                </a:cubicBezTo>
                <a:cubicBezTo>
                  <a:pt x="11420" y="1097"/>
                  <a:pt x="11420" y="1097"/>
                  <a:pt x="11420" y="1097"/>
                </a:cubicBezTo>
                <a:cubicBezTo>
                  <a:pt x="11413" y="1106"/>
                  <a:pt x="11413" y="1106"/>
                  <a:pt x="11413" y="1106"/>
                </a:cubicBezTo>
                <a:cubicBezTo>
                  <a:pt x="11396" y="1128"/>
                  <a:pt x="11364" y="1148"/>
                  <a:pt x="11330" y="1169"/>
                </a:cubicBezTo>
                <a:cubicBezTo>
                  <a:pt x="11251" y="1220"/>
                  <a:pt x="11104" y="1313"/>
                  <a:pt x="11193" y="1509"/>
                </a:cubicBezTo>
                <a:cubicBezTo>
                  <a:pt x="11225" y="1580"/>
                  <a:pt x="11272" y="1627"/>
                  <a:pt x="11332" y="1647"/>
                </a:cubicBezTo>
                <a:cubicBezTo>
                  <a:pt x="11440" y="1684"/>
                  <a:pt x="11548" y="1625"/>
                  <a:pt x="11644" y="1574"/>
                </a:cubicBezTo>
                <a:cubicBezTo>
                  <a:pt x="11689" y="1550"/>
                  <a:pt x="11745" y="1520"/>
                  <a:pt x="11771" y="1519"/>
                </a:cubicBezTo>
                <a:cubicBezTo>
                  <a:pt x="11784" y="1519"/>
                  <a:pt x="11784" y="1519"/>
                  <a:pt x="11784" y="1519"/>
                </a:cubicBezTo>
                <a:cubicBezTo>
                  <a:pt x="11797" y="1515"/>
                  <a:pt x="11797" y="1515"/>
                  <a:pt x="11797" y="1515"/>
                </a:cubicBezTo>
                <a:cubicBezTo>
                  <a:pt x="11811" y="1512"/>
                  <a:pt x="11871" y="1526"/>
                  <a:pt x="11953" y="1588"/>
                </a:cubicBezTo>
                <a:cubicBezTo>
                  <a:pt x="12027" y="1644"/>
                  <a:pt x="12071" y="1700"/>
                  <a:pt x="12087" y="1732"/>
                </a:cubicBezTo>
                <a:cubicBezTo>
                  <a:pt x="11960" y="1759"/>
                  <a:pt x="11812" y="1752"/>
                  <a:pt x="11668" y="1745"/>
                </a:cubicBezTo>
                <a:cubicBezTo>
                  <a:pt x="11325" y="1729"/>
                  <a:pt x="10899" y="1709"/>
                  <a:pt x="10842" y="2259"/>
                </a:cubicBezTo>
                <a:cubicBezTo>
                  <a:pt x="10842" y="2263"/>
                  <a:pt x="10842" y="2263"/>
                  <a:pt x="10842" y="2263"/>
                </a:cubicBezTo>
                <a:cubicBezTo>
                  <a:pt x="10839" y="2307"/>
                  <a:pt x="10827" y="2355"/>
                  <a:pt x="10815" y="2401"/>
                </a:cubicBezTo>
                <a:cubicBezTo>
                  <a:pt x="10780" y="2536"/>
                  <a:pt x="10728" y="2739"/>
                  <a:pt x="10993" y="2848"/>
                </a:cubicBezTo>
                <a:cubicBezTo>
                  <a:pt x="11003" y="2852"/>
                  <a:pt x="11003" y="2852"/>
                  <a:pt x="11003" y="2852"/>
                </a:cubicBezTo>
                <a:cubicBezTo>
                  <a:pt x="11014" y="2854"/>
                  <a:pt x="11014" y="2854"/>
                  <a:pt x="11014" y="2854"/>
                </a:cubicBezTo>
                <a:cubicBezTo>
                  <a:pt x="11439" y="2926"/>
                  <a:pt x="11462" y="3157"/>
                  <a:pt x="11494" y="3477"/>
                </a:cubicBezTo>
                <a:cubicBezTo>
                  <a:pt x="11516" y="3694"/>
                  <a:pt x="11541" y="3940"/>
                  <a:pt x="11724" y="4128"/>
                </a:cubicBezTo>
                <a:cubicBezTo>
                  <a:pt x="11731" y="4134"/>
                  <a:pt x="11731" y="4134"/>
                  <a:pt x="11731" y="4134"/>
                </a:cubicBezTo>
                <a:cubicBezTo>
                  <a:pt x="11738" y="4139"/>
                  <a:pt x="11738" y="4139"/>
                  <a:pt x="11738" y="4139"/>
                </a:cubicBezTo>
                <a:cubicBezTo>
                  <a:pt x="11813" y="4191"/>
                  <a:pt x="11886" y="4217"/>
                  <a:pt x="11958" y="4217"/>
                </a:cubicBezTo>
                <a:cubicBezTo>
                  <a:pt x="11992" y="4217"/>
                  <a:pt x="12026" y="4211"/>
                  <a:pt x="12060" y="4199"/>
                </a:cubicBezTo>
                <a:cubicBezTo>
                  <a:pt x="12319" y="4106"/>
                  <a:pt x="12442" y="3668"/>
                  <a:pt x="12541" y="3316"/>
                </a:cubicBezTo>
                <a:cubicBezTo>
                  <a:pt x="12566" y="3225"/>
                  <a:pt x="12588" y="3147"/>
                  <a:pt x="12609" y="3089"/>
                </a:cubicBezTo>
                <a:cubicBezTo>
                  <a:pt x="12613" y="3076"/>
                  <a:pt x="12622" y="3064"/>
                  <a:pt x="12632" y="3055"/>
                </a:cubicBezTo>
                <a:cubicBezTo>
                  <a:pt x="12695" y="3005"/>
                  <a:pt x="12884" y="2850"/>
                  <a:pt x="12811" y="2632"/>
                </a:cubicBezTo>
                <a:cubicBezTo>
                  <a:pt x="12785" y="2557"/>
                  <a:pt x="12808" y="2516"/>
                  <a:pt x="12827" y="2492"/>
                </a:cubicBezTo>
                <a:cubicBezTo>
                  <a:pt x="12892" y="2411"/>
                  <a:pt x="13044" y="2376"/>
                  <a:pt x="13155" y="2389"/>
                </a:cubicBezTo>
                <a:cubicBezTo>
                  <a:pt x="13184" y="2392"/>
                  <a:pt x="13196" y="2410"/>
                  <a:pt x="13236" y="2501"/>
                </a:cubicBezTo>
                <a:cubicBezTo>
                  <a:pt x="13259" y="2556"/>
                  <a:pt x="13288" y="2623"/>
                  <a:pt x="13337" y="2689"/>
                </a:cubicBezTo>
                <a:cubicBezTo>
                  <a:pt x="13443" y="2831"/>
                  <a:pt x="13560" y="2894"/>
                  <a:pt x="13686" y="2876"/>
                </a:cubicBezTo>
                <a:cubicBezTo>
                  <a:pt x="13949" y="2840"/>
                  <a:pt x="14115" y="2442"/>
                  <a:pt x="14142" y="2375"/>
                </a:cubicBezTo>
                <a:cubicBezTo>
                  <a:pt x="14217" y="2231"/>
                  <a:pt x="14299" y="2217"/>
                  <a:pt x="14308" y="2215"/>
                </a:cubicBezTo>
                <a:cubicBezTo>
                  <a:pt x="14312" y="2216"/>
                  <a:pt x="14321" y="2218"/>
                  <a:pt x="14327" y="2226"/>
                </a:cubicBezTo>
                <a:cubicBezTo>
                  <a:pt x="14334" y="2235"/>
                  <a:pt x="14356" y="2271"/>
                  <a:pt x="14339" y="2375"/>
                </a:cubicBezTo>
                <a:cubicBezTo>
                  <a:pt x="14330" y="2433"/>
                  <a:pt x="14306" y="2488"/>
                  <a:pt x="14280" y="2546"/>
                </a:cubicBezTo>
                <a:cubicBezTo>
                  <a:pt x="14225" y="2670"/>
                  <a:pt x="14162" y="2811"/>
                  <a:pt x="14222" y="3023"/>
                </a:cubicBezTo>
                <a:cubicBezTo>
                  <a:pt x="14247" y="3110"/>
                  <a:pt x="14319" y="3175"/>
                  <a:pt x="14396" y="3242"/>
                </a:cubicBezTo>
                <a:cubicBezTo>
                  <a:pt x="14539" y="3369"/>
                  <a:pt x="14662" y="3479"/>
                  <a:pt x="14524" y="3727"/>
                </a:cubicBezTo>
                <a:cubicBezTo>
                  <a:pt x="14115" y="4353"/>
                  <a:pt x="13408" y="4768"/>
                  <a:pt x="12606" y="4768"/>
                </a:cubicBezTo>
                <a:close/>
                <a:moveTo>
                  <a:pt x="14728" y="3336"/>
                </a:moveTo>
                <a:cubicBezTo>
                  <a:pt x="14675" y="3234"/>
                  <a:pt x="14589" y="3157"/>
                  <a:pt x="14523" y="3099"/>
                </a:cubicBezTo>
                <a:cubicBezTo>
                  <a:pt x="14470" y="3052"/>
                  <a:pt x="14416" y="3004"/>
                  <a:pt x="14406" y="2971"/>
                </a:cubicBezTo>
                <a:cubicBezTo>
                  <a:pt x="14365" y="2826"/>
                  <a:pt x="14407" y="2732"/>
                  <a:pt x="14455" y="2624"/>
                </a:cubicBezTo>
                <a:cubicBezTo>
                  <a:pt x="14485" y="2557"/>
                  <a:pt x="14515" y="2488"/>
                  <a:pt x="14528" y="2405"/>
                </a:cubicBezTo>
                <a:cubicBezTo>
                  <a:pt x="14549" y="2274"/>
                  <a:pt x="14532" y="2173"/>
                  <a:pt x="14476" y="2105"/>
                </a:cubicBezTo>
                <a:cubicBezTo>
                  <a:pt x="14419" y="2035"/>
                  <a:pt x="14345" y="2025"/>
                  <a:pt x="14315" y="2024"/>
                </a:cubicBezTo>
                <a:cubicBezTo>
                  <a:pt x="14295" y="2023"/>
                  <a:pt x="14107" y="2023"/>
                  <a:pt x="13969" y="2291"/>
                </a:cubicBezTo>
                <a:cubicBezTo>
                  <a:pt x="13964" y="2301"/>
                  <a:pt x="13964" y="2301"/>
                  <a:pt x="13964" y="2301"/>
                </a:cubicBezTo>
                <a:cubicBezTo>
                  <a:pt x="13919" y="2419"/>
                  <a:pt x="13785" y="2669"/>
                  <a:pt x="13659" y="2686"/>
                </a:cubicBezTo>
                <a:cubicBezTo>
                  <a:pt x="13608" y="2694"/>
                  <a:pt x="13551" y="2656"/>
                  <a:pt x="13491" y="2574"/>
                </a:cubicBezTo>
                <a:cubicBezTo>
                  <a:pt x="13455" y="2527"/>
                  <a:pt x="13433" y="2475"/>
                  <a:pt x="13412" y="2425"/>
                </a:cubicBezTo>
                <a:cubicBezTo>
                  <a:pt x="13371" y="2332"/>
                  <a:pt x="13321" y="2215"/>
                  <a:pt x="13177" y="2199"/>
                </a:cubicBezTo>
                <a:cubicBezTo>
                  <a:pt x="13018" y="2180"/>
                  <a:pt x="12794" y="2226"/>
                  <a:pt x="12678" y="2372"/>
                </a:cubicBezTo>
                <a:cubicBezTo>
                  <a:pt x="12606" y="2462"/>
                  <a:pt x="12589" y="2577"/>
                  <a:pt x="12630" y="2694"/>
                </a:cubicBezTo>
                <a:cubicBezTo>
                  <a:pt x="12645" y="2739"/>
                  <a:pt x="12643" y="2800"/>
                  <a:pt x="12511" y="2907"/>
                </a:cubicBezTo>
                <a:cubicBezTo>
                  <a:pt x="12473" y="2938"/>
                  <a:pt x="12444" y="2978"/>
                  <a:pt x="12428" y="3025"/>
                </a:cubicBezTo>
                <a:cubicBezTo>
                  <a:pt x="12405" y="3089"/>
                  <a:pt x="12383" y="3170"/>
                  <a:pt x="12356" y="3264"/>
                </a:cubicBezTo>
                <a:cubicBezTo>
                  <a:pt x="12283" y="3524"/>
                  <a:pt x="12161" y="3959"/>
                  <a:pt x="11995" y="4019"/>
                </a:cubicBezTo>
                <a:cubicBezTo>
                  <a:pt x="11980" y="4024"/>
                  <a:pt x="11936" y="4040"/>
                  <a:pt x="11855" y="3987"/>
                </a:cubicBezTo>
                <a:cubicBezTo>
                  <a:pt x="11724" y="3848"/>
                  <a:pt x="11705" y="3658"/>
                  <a:pt x="11685" y="3458"/>
                </a:cubicBezTo>
                <a:cubicBezTo>
                  <a:pt x="11653" y="3134"/>
                  <a:pt x="11616" y="2767"/>
                  <a:pt x="11057" y="2667"/>
                </a:cubicBezTo>
                <a:cubicBezTo>
                  <a:pt x="10960" y="2625"/>
                  <a:pt x="10965" y="2587"/>
                  <a:pt x="11000" y="2449"/>
                </a:cubicBezTo>
                <a:cubicBezTo>
                  <a:pt x="11014" y="2397"/>
                  <a:pt x="11029" y="2338"/>
                  <a:pt x="11033" y="2277"/>
                </a:cubicBezTo>
                <a:cubicBezTo>
                  <a:pt x="11070" y="1925"/>
                  <a:pt x="11273" y="1918"/>
                  <a:pt x="11659" y="1936"/>
                </a:cubicBezTo>
                <a:cubicBezTo>
                  <a:pt x="11821" y="1944"/>
                  <a:pt x="11989" y="1952"/>
                  <a:pt x="12146" y="1915"/>
                </a:cubicBezTo>
                <a:cubicBezTo>
                  <a:pt x="12241" y="1892"/>
                  <a:pt x="12272" y="1831"/>
                  <a:pt x="12281" y="1796"/>
                </a:cubicBezTo>
                <a:cubicBezTo>
                  <a:pt x="12312" y="1681"/>
                  <a:pt x="12208" y="1560"/>
                  <a:pt x="12143" y="1498"/>
                </a:cubicBezTo>
                <a:cubicBezTo>
                  <a:pt x="12039" y="1399"/>
                  <a:pt x="11877" y="1298"/>
                  <a:pt x="11752" y="1328"/>
                </a:cubicBezTo>
                <a:cubicBezTo>
                  <a:pt x="11685" y="1334"/>
                  <a:pt x="11618" y="1370"/>
                  <a:pt x="11554" y="1405"/>
                </a:cubicBezTo>
                <a:cubicBezTo>
                  <a:pt x="11505" y="1431"/>
                  <a:pt x="11422" y="1475"/>
                  <a:pt x="11394" y="1466"/>
                </a:cubicBezTo>
                <a:cubicBezTo>
                  <a:pt x="11386" y="1463"/>
                  <a:pt x="11376" y="1450"/>
                  <a:pt x="11368" y="1430"/>
                </a:cubicBezTo>
                <a:cubicBezTo>
                  <a:pt x="11349" y="1389"/>
                  <a:pt x="11347" y="1386"/>
                  <a:pt x="11433" y="1331"/>
                </a:cubicBezTo>
                <a:cubicBezTo>
                  <a:pt x="11474" y="1305"/>
                  <a:pt x="11521" y="1276"/>
                  <a:pt x="11558" y="1232"/>
                </a:cubicBezTo>
                <a:cubicBezTo>
                  <a:pt x="11618" y="1180"/>
                  <a:pt x="11667" y="1109"/>
                  <a:pt x="11714" y="1039"/>
                </a:cubicBezTo>
                <a:cubicBezTo>
                  <a:pt x="11771" y="956"/>
                  <a:pt x="11835" y="862"/>
                  <a:pt x="11892" y="854"/>
                </a:cubicBezTo>
                <a:cubicBezTo>
                  <a:pt x="11920" y="849"/>
                  <a:pt x="11956" y="864"/>
                  <a:pt x="11999" y="898"/>
                </a:cubicBezTo>
                <a:cubicBezTo>
                  <a:pt x="12267" y="1137"/>
                  <a:pt x="12503" y="1006"/>
                  <a:pt x="12753" y="867"/>
                </a:cubicBezTo>
                <a:cubicBezTo>
                  <a:pt x="13059" y="697"/>
                  <a:pt x="13440" y="486"/>
                  <a:pt x="14112" y="759"/>
                </a:cubicBezTo>
                <a:cubicBezTo>
                  <a:pt x="14591" y="1179"/>
                  <a:pt x="14894" y="1795"/>
                  <a:pt x="14894" y="2480"/>
                </a:cubicBezTo>
                <a:cubicBezTo>
                  <a:pt x="14894" y="2783"/>
                  <a:pt x="14835" y="3072"/>
                  <a:pt x="14728" y="333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196722-2BBF-AD5E-B859-8C41FC588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4</a:t>
            </a:fld>
            <a:endParaRPr lang="en-GB"/>
          </a:p>
        </p:txBody>
      </p:sp>
      <p:sp>
        <p:nvSpPr>
          <p:cNvPr id="11" name="Freeform 9">
            <a:extLst>
              <a:ext uri="{FF2B5EF4-FFF2-40B4-BE49-F238E27FC236}">
                <a16:creationId xmlns:a16="http://schemas.microsoft.com/office/drawing/2014/main" id="{4F882742-CF56-B525-749C-AE755D649B3D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57213" y="425450"/>
            <a:ext cx="3759275" cy="839898"/>
          </a:xfrm>
          <a:custGeom>
            <a:avLst/>
            <a:gdLst>
              <a:gd name="T0" fmla="*/ 1520 w 9167"/>
              <a:gd name="T1" fmla="*/ 2018 h 2047"/>
              <a:gd name="T2" fmla="*/ 593 w 9167"/>
              <a:gd name="T3" fmla="*/ 1655 h 2047"/>
              <a:gd name="T4" fmla="*/ 1505 w 9167"/>
              <a:gd name="T5" fmla="*/ 331 h 2047"/>
              <a:gd name="T6" fmla="*/ 85 w 9167"/>
              <a:gd name="T7" fmla="*/ 78 h 2047"/>
              <a:gd name="T8" fmla="*/ 933 w 9167"/>
              <a:gd name="T9" fmla="*/ 441 h 2047"/>
              <a:gd name="T10" fmla="*/ 0 w 9167"/>
              <a:gd name="T11" fmla="*/ 1782 h 2047"/>
              <a:gd name="T12" fmla="*/ 2894 w 9167"/>
              <a:gd name="T13" fmla="*/ 1454 h 2047"/>
              <a:gd name="T14" fmla="*/ 2275 w 9167"/>
              <a:gd name="T15" fmla="*/ 579 h 2047"/>
              <a:gd name="T16" fmla="*/ 2316 w 9167"/>
              <a:gd name="T17" fmla="*/ 2047 h 2047"/>
              <a:gd name="T18" fmla="*/ 2772 w 9167"/>
              <a:gd name="T19" fmla="*/ 1661 h 2047"/>
              <a:gd name="T20" fmla="*/ 1979 w 9167"/>
              <a:gd name="T21" fmla="*/ 1454 h 2047"/>
              <a:gd name="T22" fmla="*/ 1976 w 9167"/>
              <a:gd name="T23" fmla="*/ 1154 h 2047"/>
              <a:gd name="T24" fmla="*/ 2499 w 9167"/>
              <a:gd name="T25" fmla="*/ 1154 h 2047"/>
              <a:gd name="T26" fmla="*/ 2999 w 9167"/>
              <a:gd name="T27" fmla="*/ 2018 h 2047"/>
              <a:gd name="T28" fmla="*/ 3440 w 9167"/>
              <a:gd name="T29" fmla="*/ 1307 h 2047"/>
              <a:gd name="T30" fmla="*/ 3751 w 9167"/>
              <a:gd name="T31" fmla="*/ 988 h 2047"/>
              <a:gd name="T32" fmla="*/ 3870 w 9167"/>
              <a:gd name="T33" fmla="*/ 587 h 2047"/>
              <a:gd name="T34" fmla="*/ 3394 w 9167"/>
              <a:gd name="T35" fmla="*/ 872 h 2047"/>
              <a:gd name="T36" fmla="*/ 3365 w 9167"/>
              <a:gd name="T37" fmla="*/ 610 h 2047"/>
              <a:gd name="T38" fmla="*/ 2999 w 9167"/>
              <a:gd name="T39" fmla="*/ 1074 h 2047"/>
              <a:gd name="T40" fmla="*/ 5213 w 9167"/>
              <a:gd name="T41" fmla="*/ 1454 h 2047"/>
              <a:gd name="T42" fmla="*/ 4594 w 9167"/>
              <a:gd name="T43" fmla="*/ 579 h 2047"/>
              <a:gd name="T44" fmla="*/ 4634 w 9167"/>
              <a:gd name="T45" fmla="*/ 2047 h 2047"/>
              <a:gd name="T46" fmla="*/ 5091 w 9167"/>
              <a:gd name="T47" fmla="*/ 1661 h 2047"/>
              <a:gd name="T48" fmla="*/ 4297 w 9167"/>
              <a:gd name="T49" fmla="*/ 1454 h 2047"/>
              <a:gd name="T50" fmla="*/ 4294 w 9167"/>
              <a:gd name="T51" fmla="*/ 1154 h 2047"/>
              <a:gd name="T52" fmla="*/ 4817 w 9167"/>
              <a:gd name="T53" fmla="*/ 1154 h 2047"/>
              <a:gd name="T54" fmla="*/ 5303 w 9167"/>
              <a:gd name="T55" fmla="*/ 2018 h 2047"/>
              <a:gd name="T56" fmla="*/ 5733 w 9167"/>
              <a:gd name="T57" fmla="*/ 1201 h 2047"/>
              <a:gd name="T58" fmla="*/ 5956 w 9167"/>
              <a:gd name="T59" fmla="*/ 933 h 2047"/>
              <a:gd name="T60" fmla="*/ 6163 w 9167"/>
              <a:gd name="T61" fmla="*/ 2018 h 2047"/>
              <a:gd name="T62" fmla="*/ 6593 w 9167"/>
              <a:gd name="T63" fmla="*/ 1195 h 2047"/>
              <a:gd name="T64" fmla="*/ 6813 w 9167"/>
              <a:gd name="T65" fmla="*/ 933 h 2047"/>
              <a:gd name="T66" fmla="*/ 7023 w 9167"/>
              <a:gd name="T67" fmla="*/ 2018 h 2047"/>
              <a:gd name="T68" fmla="*/ 7453 w 9167"/>
              <a:gd name="T69" fmla="*/ 1189 h 2047"/>
              <a:gd name="T70" fmla="*/ 6703 w 9167"/>
              <a:gd name="T71" fmla="*/ 648 h 2047"/>
              <a:gd name="T72" fmla="*/ 6511 w 9167"/>
              <a:gd name="T73" fmla="*/ 821 h 2047"/>
              <a:gd name="T74" fmla="*/ 5692 w 9167"/>
              <a:gd name="T75" fmla="*/ 803 h 2047"/>
              <a:gd name="T76" fmla="*/ 5666 w 9167"/>
              <a:gd name="T77" fmla="*/ 610 h 2047"/>
              <a:gd name="T78" fmla="*/ 5303 w 9167"/>
              <a:gd name="T79" fmla="*/ 1060 h 2047"/>
              <a:gd name="T80" fmla="*/ 8010 w 9167"/>
              <a:gd name="T81" fmla="*/ 610 h 2047"/>
              <a:gd name="T82" fmla="*/ 7569 w 9167"/>
              <a:gd name="T83" fmla="*/ 2018 h 2047"/>
              <a:gd name="T84" fmla="*/ 8010 w 9167"/>
              <a:gd name="T85" fmla="*/ 610 h 2047"/>
              <a:gd name="T86" fmla="*/ 8025 w 9167"/>
              <a:gd name="T87" fmla="*/ 219 h 2047"/>
              <a:gd name="T88" fmla="*/ 7557 w 9167"/>
              <a:gd name="T89" fmla="*/ 219 h 2047"/>
              <a:gd name="T90" fmla="*/ 7790 w 9167"/>
              <a:gd name="T91" fmla="*/ 438 h 2047"/>
              <a:gd name="T92" fmla="*/ 8554 w 9167"/>
              <a:gd name="T93" fmla="*/ 2047 h 2047"/>
              <a:gd name="T94" fmla="*/ 8783 w 9167"/>
              <a:gd name="T95" fmla="*/ 1157 h 2047"/>
              <a:gd name="T96" fmla="*/ 8722 w 9167"/>
              <a:gd name="T97" fmla="*/ 884 h 2047"/>
              <a:gd name="T98" fmla="*/ 9106 w 9167"/>
              <a:gd name="T99" fmla="*/ 662 h 2047"/>
              <a:gd name="T100" fmla="*/ 8129 w 9167"/>
              <a:gd name="T101" fmla="*/ 1042 h 2047"/>
              <a:gd name="T102" fmla="*/ 8742 w 9167"/>
              <a:gd name="T103" fmla="*/ 1624 h 2047"/>
              <a:gd name="T104" fmla="*/ 8173 w 9167"/>
              <a:gd name="T105" fmla="*/ 1635 h 20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167" h="2047">
                <a:moveTo>
                  <a:pt x="0" y="2018"/>
                </a:moveTo>
                <a:cubicBezTo>
                  <a:pt x="1520" y="2018"/>
                  <a:pt x="1520" y="2018"/>
                  <a:pt x="1520" y="2018"/>
                </a:cubicBezTo>
                <a:cubicBezTo>
                  <a:pt x="1520" y="1655"/>
                  <a:pt x="1520" y="1655"/>
                  <a:pt x="1520" y="1655"/>
                </a:cubicBezTo>
                <a:cubicBezTo>
                  <a:pt x="593" y="1655"/>
                  <a:pt x="593" y="1655"/>
                  <a:pt x="593" y="1655"/>
                </a:cubicBezTo>
                <a:cubicBezTo>
                  <a:pt x="593" y="1644"/>
                  <a:pt x="593" y="1644"/>
                  <a:pt x="593" y="1644"/>
                </a:cubicBezTo>
                <a:cubicBezTo>
                  <a:pt x="1505" y="331"/>
                  <a:pt x="1505" y="331"/>
                  <a:pt x="1505" y="331"/>
                </a:cubicBezTo>
                <a:cubicBezTo>
                  <a:pt x="1505" y="78"/>
                  <a:pt x="1505" y="78"/>
                  <a:pt x="1505" y="78"/>
                </a:cubicBezTo>
                <a:cubicBezTo>
                  <a:pt x="85" y="78"/>
                  <a:pt x="85" y="78"/>
                  <a:pt x="85" y="78"/>
                </a:cubicBezTo>
                <a:cubicBezTo>
                  <a:pt x="85" y="441"/>
                  <a:pt x="85" y="441"/>
                  <a:pt x="85" y="441"/>
                </a:cubicBezTo>
                <a:cubicBezTo>
                  <a:pt x="933" y="441"/>
                  <a:pt x="933" y="441"/>
                  <a:pt x="933" y="441"/>
                </a:cubicBezTo>
                <a:cubicBezTo>
                  <a:pt x="933" y="449"/>
                  <a:pt x="933" y="449"/>
                  <a:pt x="933" y="449"/>
                </a:cubicBezTo>
                <a:cubicBezTo>
                  <a:pt x="0" y="1782"/>
                  <a:pt x="0" y="1782"/>
                  <a:pt x="0" y="1782"/>
                </a:cubicBezTo>
                <a:lnTo>
                  <a:pt x="0" y="2018"/>
                </a:lnTo>
                <a:close/>
                <a:moveTo>
                  <a:pt x="2894" y="1454"/>
                </a:moveTo>
                <a:cubicBezTo>
                  <a:pt x="2900" y="1422"/>
                  <a:pt x="2909" y="1356"/>
                  <a:pt x="2909" y="1281"/>
                </a:cubicBezTo>
                <a:cubicBezTo>
                  <a:pt x="2909" y="933"/>
                  <a:pt x="2734" y="579"/>
                  <a:pt x="2275" y="579"/>
                </a:cubicBezTo>
                <a:cubicBezTo>
                  <a:pt x="1784" y="579"/>
                  <a:pt x="1558" y="973"/>
                  <a:pt x="1558" y="1330"/>
                </a:cubicBezTo>
                <a:cubicBezTo>
                  <a:pt x="1558" y="1770"/>
                  <a:pt x="1834" y="2047"/>
                  <a:pt x="2316" y="2047"/>
                </a:cubicBezTo>
                <a:cubicBezTo>
                  <a:pt x="2508" y="2047"/>
                  <a:pt x="2685" y="2018"/>
                  <a:pt x="2830" y="1958"/>
                </a:cubicBezTo>
                <a:cubicBezTo>
                  <a:pt x="2772" y="1661"/>
                  <a:pt x="2772" y="1661"/>
                  <a:pt x="2772" y="1661"/>
                </a:cubicBezTo>
                <a:cubicBezTo>
                  <a:pt x="2653" y="1701"/>
                  <a:pt x="2531" y="1722"/>
                  <a:pt x="2380" y="1722"/>
                </a:cubicBezTo>
                <a:cubicBezTo>
                  <a:pt x="2174" y="1722"/>
                  <a:pt x="1993" y="1635"/>
                  <a:pt x="1979" y="1454"/>
                </a:cubicBezTo>
                <a:lnTo>
                  <a:pt x="2894" y="1454"/>
                </a:lnTo>
                <a:close/>
                <a:moveTo>
                  <a:pt x="1976" y="1154"/>
                </a:moveTo>
                <a:cubicBezTo>
                  <a:pt x="1988" y="1039"/>
                  <a:pt x="2063" y="870"/>
                  <a:pt x="2252" y="870"/>
                </a:cubicBezTo>
                <a:cubicBezTo>
                  <a:pt x="2453" y="870"/>
                  <a:pt x="2499" y="1048"/>
                  <a:pt x="2499" y="1154"/>
                </a:cubicBezTo>
                <a:lnTo>
                  <a:pt x="1976" y="1154"/>
                </a:lnTo>
                <a:close/>
                <a:moveTo>
                  <a:pt x="2999" y="2018"/>
                </a:moveTo>
                <a:cubicBezTo>
                  <a:pt x="3440" y="2018"/>
                  <a:pt x="3440" y="2018"/>
                  <a:pt x="3440" y="2018"/>
                </a:cubicBezTo>
                <a:cubicBezTo>
                  <a:pt x="3440" y="1307"/>
                  <a:pt x="3440" y="1307"/>
                  <a:pt x="3440" y="1307"/>
                </a:cubicBezTo>
                <a:cubicBezTo>
                  <a:pt x="3440" y="1270"/>
                  <a:pt x="3443" y="1238"/>
                  <a:pt x="3449" y="1209"/>
                </a:cubicBezTo>
                <a:cubicBezTo>
                  <a:pt x="3478" y="1071"/>
                  <a:pt x="3589" y="988"/>
                  <a:pt x="3751" y="988"/>
                </a:cubicBezTo>
                <a:cubicBezTo>
                  <a:pt x="3801" y="988"/>
                  <a:pt x="3835" y="993"/>
                  <a:pt x="3870" y="999"/>
                </a:cubicBezTo>
                <a:cubicBezTo>
                  <a:pt x="3870" y="587"/>
                  <a:pt x="3870" y="587"/>
                  <a:pt x="3870" y="587"/>
                </a:cubicBezTo>
                <a:cubicBezTo>
                  <a:pt x="3838" y="582"/>
                  <a:pt x="3818" y="579"/>
                  <a:pt x="3777" y="579"/>
                </a:cubicBezTo>
                <a:cubicBezTo>
                  <a:pt x="3638" y="579"/>
                  <a:pt x="3466" y="665"/>
                  <a:pt x="3394" y="872"/>
                </a:cubicBezTo>
                <a:cubicBezTo>
                  <a:pt x="3382" y="872"/>
                  <a:pt x="3382" y="872"/>
                  <a:pt x="3382" y="872"/>
                </a:cubicBezTo>
                <a:cubicBezTo>
                  <a:pt x="3365" y="610"/>
                  <a:pt x="3365" y="610"/>
                  <a:pt x="3365" y="610"/>
                </a:cubicBezTo>
                <a:cubicBezTo>
                  <a:pt x="2987" y="610"/>
                  <a:pt x="2987" y="610"/>
                  <a:pt x="2987" y="610"/>
                </a:cubicBezTo>
                <a:cubicBezTo>
                  <a:pt x="2996" y="731"/>
                  <a:pt x="2999" y="867"/>
                  <a:pt x="2999" y="1074"/>
                </a:cubicBezTo>
                <a:lnTo>
                  <a:pt x="2999" y="2018"/>
                </a:lnTo>
                <a:close/>
                <a:moveTo>
                  <a:pt x="5213" y="1454"/>
                </a:moveTo>
                <a:cubicBezTo>
                  <a:pt x="5218" y="1422"/>
                  <a:pt x="5227" y="1356"/>
                  <a:pt x="5227" y="1281"/>
                </a:cubicBezTo>
                <a:cubicBezTo>
                  <a:pt x="5227" y="933"/>
                  <a:pt x="5053" y="579"/>
                  <a:pt x="4594" y="579"/>
                </a:cubicBezTo>
                <a:cubicBezTo>
                  <a:pt x="4103" y="579"/>
                  <a:pt x="3876" y="973"/>
                  <a:pt x="3876" y="1330"/>
                </a:cubicBezTo>
                <a:cubicBezTo>
                  <a:pt x="3876" y="1770"/>
                  <a:pt x="4152" y="2047"/>
                  <a:pt x="4634" y="2047"/>
                </a:cubicBezTo>
                <a:cubicBezTo>
                  <a:pt x="4826" y="2047"/>
                  <a:pt x="5003" y="2018"/>
                  <a:pt x="5149" y="1958"/>
                </a:cubicBezTo>
                <a:cubicBezTo>
                  <a:pt x="5091" y="1661"/>
                  <a:pt x="5091" y="1661"/>
                  <a:pt x="5091" y="1661"/>
                </a:cubicBezTo>
                <a:cubicBezTo>
                  <a:pt x="4971" y="1701"/>
                  <a:pt x="4849" y="1722"/>
                  <a:pt x="4698" y="1722"/>
                </a:cubicBezTo>
                <a:cubicBezTo>
                  <a:pt x="4492" y="1722"/>
                  <a:pt x="4312" y="1635"/>
                  <a:pt x="4297" y="1454"/>
                </a:cubicBezTo>
                <a:lnTo>
                  <a:pt x="5213" y="1454"/>
                </a:lnTo>
                <a:close/>
                <a:moveTo>
                  <a:pt x="4294" y="1154"/>
                </a:moveTo>
                <a:cubicBezTo>
                  <a:pt x="4306" y="1039"/>
                  <a:pt x="4382" y="870"/>
                  <a:pt x="4570" y="870"/>
                </a:cubicBezTo>
                <a:cubicBezTo>
                  <a:pt x="4771" y="870"/>
                  <a:pt x="4817" y="1048"/>
                  <a:pt x="4817" y="1154"/>
                </a:cubicBezTo>
                <a:lnTo>
                  <a:pt x="4294" y="1154"/>
                </a:lnTo>
                <a:close/>
                <a:moveTo>
                  <a:pt x="5303" y="2018"/>
                </a:moveTo>
                <a:cubicBezTo>
                  <a:pt x="5733" y="2018"/>
                  <a:pt x="5733" y="2018"/>
                  <a:pt x="5733" y="2018"/>
                </a:cubicBezTo>
                <a:cubicBezTo>
                  <a:pt x="5733" y="1201"/>
                  <a:pt x="5733" y="1201"/>
                  <a:pt x="5733" y="1201"/>
                </a:cubicBezTo>
                <a:cubicBezTo>
                  <a:pt x="5733" y="1163"/>
                  <a:pt x="5736" y="1123"/>
                  <a:pt x="5750" y="1088"/>
                </a:cubicBezTo>
                <a:cubicBezTo>
                  <a:pt x="5776" y="1019"/>
                  <a:pt x="5843" y="933"/>
                  <a:pt x="5956" y="933"/>
                </a:cubicBezTo>
                <a:cubicBezTo>
                  <a:pt x="6099" y="933"/>
                  <a:pt x="6163" y="1054"/>
                  <a:pt x="6163" y="1229"/>
                </a:cubicBezTo>
                <a:cubicBezTo>
                  <a:pt x="6163" y="2018"/>
                  <a:pt x="6163" y="2018"/>
                  <a:pt x="6163" y="2018"/>
                </a:cubicBezTo>
                <a:cubicBezTo>
                  <a:pt x="6593" y="2018"/>
                  <a:pt x="6593" y="2018"/>
                  <a:pt x="6593" y="2018"/>
                </a:cubicBezTo>
                <a:cubicBezTo>
                  <a:pt x="6593" y="1195"/>
                  <a:pt x="6593" y="1195"/>
                  <a:pt x="6593" y="1195"/>
                </a:cubicBezTo>
                <a:cubicBezTo>
                  <a:pt x="6593" y="1160"/>
                  <a:pt x="6598" y="1117"/>
                  <a:pt x="6607" y="1085"/>
                </a:cubicBezTo>
                <a:cubicBezTo>
                  <a:pt x="6639" y="1002"/>
                  <a:pt x="6709" y="933"/>
                  <a:pt x="6813" y="933"/>
                </a:cubicBezTo>
                <a:cubicBezTo>
                  <a:pt x="6956" y="933"/>
                  <a:pt x="7023" y="1051"/>
                  <a:pt x="7023" y="1255"/>
                </a:cubicBezTo>
                <a:cubicBezTo>
                  <a:pt x="7023" y="2018"/>
                  <a:pt x="7023" y="2018"/>
                  <a:pt x="7023" y="2018"/>
                </a:cubicBezTo>
                <a:cubicBezTo>
                  <a:pt x="7453" y="2018"/>
                  <a:pt x="7453" y="2018"/>
                  <a:pt x="7453" y="2018"/>
                </a:cubicBezTo>
                <a:cubicBezTo>
                  <a:pt x="7453" y="1189"/>
                  <a:pt x="7453" y="1189"/>
                  <a:pt x="7453" y="1189"/>
                </a:cubicBezTo>
                <a:cubicBezTo>
                  <a:pt x="7453" y="769"/>
                  <a:pt x="7246" y="579"/>
                  <a:pt x="6973" y="579"/>
                </a:cubicBezTo>
                <a:cubicBezTo>
                  <a:pt x="6869" y="579"/>
                  <a:pt x="6781" y="605"/>
                  <a:pt x="6703" y="648"/>
                </a:cubicBezTo>
                <a:cubicBezTo>
                  <a:pt x="6633" y="688"/>
                  <a:pt x="6572" y="746"/>
                  <a:pt x="6517" y="821"/>
                </a:cubicBezTo>
                <a:cubicBezTo>
                  <a:pt x="6511" y="821"/>
                  <a:pt x="6511" y="821"/>
                  <a:pt x="6511" y="821"/>
                </a:cubicBezTo>
                <a:cubicBezTo>
                  <a:pt x="6450" y="674"/>
                  <a:pt x="6308" y="579"/>
                  <a:pt x="6122" y="579"/>
                </a:cubicBezTo>
                <a:cubicBezTo>
                  <a:pt x="5881" y="579"/>
                  <a:pt x="5753" y="711"/>
                  <a:pt x="5692" y="803"/>
                </a:cubicBezTo>
                <a:cubicBezTo>
                  <a:pt x="5683" y="803"/>
                  <a:pt x="5683" y="803"/>
                  <a:pt x="5683" y="803"/>
                </a:cubicBezTo>
                <a:cubicBezTo>
                  <a:pt x="5666" y="610"/>
                  <a:pt x="5666" y="610"/>
                  <a:pt x="5666" y="610"/>
                </a:cubicBezTo>
                <a:cubicBezTo>
                  <a:pt x="5291" y="610"/>
                  <a:pt x="5291" y="610"/>
                  <a:pt x="5291" y="610"/>
                </a:cubicBezTo>
                <a:cubicBezTo>
                  <a:pt x="5297" y="737"/>
                  <a:pt x="5303" y="884"/>
                  <a:pt x="5303" y="1060"/>
                </a:cubicBezTo>
                <a:lnTo>
                  <a:pt x="5303" y="2018"/>
                </a:lnTo>
                <a:close/>
                <a:moveTo>
                  <a:pt x="8010" y="610"/>
                </a:moveTo>
                <a:cubicBezTo>
                  <a:pt x="7569" y="610"/>
                  <a:pt x="7569" y="610"/>
                  <a:pt x="7569" y="610"/>
                </a:cubicBezTo>
                <a:cubicBezTo>
                  <a:pt x="7569" y="2018"/>
                  <a:pt x="7569" y="2018"/>
                  <a:pt x="7569" y="2018"/>
                </a:cubicBezTo>
                <a:cubicBezTo>
                  <a:pt x="8010" y="2018"/>
                  <a:pt x="8010" y="2018"/>
                  <a:pt x="8010" y="2018"/>
                </a:cubicBezTo>
                <a:lnTo>
                  <a:pt x="8010" y="610"/>
                </a:lnTo>
                <a:close/>
                <a:moveTo>
                  <a:pt x="7790" y="438"/>
                </a:moveTo>
                <a:cubicBezTo>
                  <a:pt x="7935" y="438"/>
                  <a:pt x="8025" y="340"/>
                  <a:pt x="8025" y="219"/>
                </a:cubicBezTo>
                <a:cubicBezTo>
                  <a:pt x="8022" y="95"/>
                  <a:pt x="7935" y="0"/>
                  <a:pt x="7792" y="0"/>
                </a:cubicBezTo>
                <a:cubicBezTo>
                  <a:pt x="7650" y="0"/>
                  <a:pt x="7557" y="95"/>
                  <a:pt x="7557" y="219"/>
                </a:cubicBezTo>
                <a:cubicBezTo>
                  <a:pt x="7557" y="340"/>
                  <a:pt x="7647" y="438"/>
                  <a:pt x="7787" y="438"/>
                </a:cubicBezTo>
                <a:lnTo>
                  <a:pt x="7790" y="438"/>
                </a:lnTo>
                <a:close/>
                <a:moveTo>
                  <a:pt x="8095" y="1946"/>
                </a:moveTo>
                <a:cubicBezTo>
                  <a:pt x="8202" y="2004"/>
                  <a:pt x="8368" y="2047"/>
                  <a:pt x="8554" y="2047"/>
                </a:cubicBezTo>
                <a:cubicBezTo>
                  <a:pt x="8960" y="2047"/>
                  <a:pt x="9167" y="1854"/>
                  <a:pt x="9167" y="1589"/>
                </a:cubicBezTo>
                <a:cubicBezTo>
                  <a:pt x="9164" y="1385"/>
                  <a:pt x="9053" y="1249"/>
                  <a:pt x="8783" y="1157"/>
                </a:cubicBezTo>
                <a:cubicBezTo>
                  <a:pt x="8609" y="1100"/>
                  <a:pt x="8554" y="1062"/>
                  <a:pt x="8554" y="996"/>
                </a:cubicBezTo>
                <a:cubicBezTo>
                  <a:pt x="8554" y="927"/>
                  <a:pt x="8615" y="884"/>
                  <a:pt x="8722" y="884"/>
                </a:cubicBezTo>
                <a:cubicBezTo>
                  <a:pt x="8841" y="884"/>
                  <a:pt x="8966" y="930"/>
                  <a:pt x="9030" y="962"/>
                </a:cubicBezTo>
                <a:cubicBezTo>
                  <a:pt x="9106" y="662"/>
                  <a:pt x="9106" y="662"/>
                  <a:pt x="9106" y="662"/>
                </a:cubicBezTo>
                <a:cubicBezTo>
                  <a:pt x="9018" y="619"/>
                  <a:pt x="8873" y="579"/>
                  <a:pt x="8708" y="579"/>
                </a:cubicBezTo>
                <a:cubicBezTo>
                  <a:pt x="8356" y="579"/>
                  <a:pt x="8129" y="777"/>
                  <a:pt x="8129" y="1042"/>
                </a:cubicBezTo>
                <a:cubicBezTo>
                  <a:pt x="8127" y="1206"/>
                  <a:pt x="8240" y="1365"/>
                  <a:pt x="8536" y="1462"/>
                </a:cubicBezTo>
                <a:cubicBezTo>
                  <a:pt x="8699" y="1514"/>
                  <a:pt x="8742" y="1552"/>
                  <a:pt x="8742" y="1624"/>
                </a:cubicBezTo>
                <a:cubicBezTo>
                  <a:pt x="8742" y="1696"/>
                  <a:pt x="8687" y="1739"/>
                  <a:pt x="8554" y="1739"/>
                </a:cubicBezTo>
                <a:cubicBezTo>
                  <a:pt x="8423" y="1739"/>
                  <a:pt x="8254" y="1684"/>
                  <a:pt x="8173" y="1635"/>
                </a:cubicBezTo>
                <a:lnTo>
                  <a:pt x="8095" y="19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32423524-9449-4C47-A8DC-DB654EE71AB2}"/>
              </a:ext>
            </a:extLst>
          </p:cNvPr>
          <p:cNvSpPr txBox="1"/>
          <p:nvPr/>
        </p:nvSpPr>
        <p:spPr>
          <a:xfrm>
            <a:off x="4324206" y="529362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l"/>
            <a:r>
              <a:rPr lang="nl-NL" sz="2000" b="1">
                <a:solidFill>
                  <a:schemeClr val="bg1"/>
                </a:solidFill>
              </a:rPr>
              <a:t>®</a:t>
            </a: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270B2A2D-400B-4DE8-9A91-785E04475E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3940176" cy="186038"/>
          </a:xfrm>
        </p:spPr>
        <p:txBody>
          <a:bodyPr/>
          <a:lstStyle/>
          <a:p>
            <a:r>
              <a:rPr lang="en-GB"/>
              <a:t>Tata Steel  |  Zeremis Presentation  |  October 2023</a:t>
            </a:r>
          </a:p>
        </p:txBody>
      </p:sp>
    </p:spTree>
    <p:extLst>
      <p:ext uri="{BB962C8B-B14F-4D97-AF65-F5344CB8AC3E}">
        <p14:creationId xmlns:p14="http://schemas.microsoft.com/office/powerpoint/2010/main" val="306483811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196722-2BBF-AD5E-B859-8C41FC588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749">
              <a:defRPr/>
            </a:pPr>
            <a:fld id="{5B4A74C5-79B0-4340-9A8D-1CCBE3E8C644}" type="slidenum">
              <a:rPr lang="en-GB">
                <a:solidFill>
                  <a:prstClr val="white"/>
                </a:solidFill>
                <a:latin typeface="Arial"/>
              </a:rPr>
              <a:pPr defTabSz="685749">
                <a:defRPr/>
              </a:pPr>
              <a:t>5</a:t>
            </a:fld>
            <a:endParaRPr lang="en-GB">
              <a:solidFill>
                <a:prstClr val="white"/>
              </a:solidFill>
              <a:latin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EB1AB27-36D4-811E-A124-45DA25846F5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4" y="425451"/>
            <a:ext cx="4014786" cy="3003550"/>
          </a:xfrm>
        </p:spPr>
        <p:txBody>
          <a:bodyPr/>
          <a:lstStyle/>
          <a:p>
            <a:pPr lvl="4"/>
            <a:r>
              <a:rPr lang="en-GB">
                <a:solidFill>
                  <a:schemeClr val="accent2"/>
                </a:solidFill>
              </a:rPr>
              <a:t>We will be introducing a range of new</a:t>
            </a:r>
          </a:p>
          <a:p>
            <a:pPr lvl="4"/>
            <a:r>
              <a:rPr lang="en-GB">
                <a:solidFill>
                  <a:schemeClr val="accent2"/>
                </a:solidFill>
              </a:rPr>
              <a:t>solutions under the Zeremis brand</a:t>
            </a:r>
            <a:r>
              <a:rPr lang="en-NL">
                <a:solidFill>
                  <a:schemeClr val="accent2"/>
                </a:solidFill>
              </a:rPr>
              <a:t> covering the full supply chain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30B95234-5B74-A6C4-B70E-9B74C04DC7D5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557213" y="1319383"/>
            <a:ext cx="2723625" cy="608513"/>
          </a:xfrm>
          <a:custGeom>
            <a:avLst/>
            <a:gdLst>
              <a:gd name="T0" fmla="*/ 1520 w 9167"/>
              <a:gd name="T1" fmla="*/ 2018 h 2047"/>
              <a:gd name="T2" fmla="*/ 593 w 9167"/>
              <a:gd name="T3" fmla="*/ 1655 h 2047"/>
              <a:gd name="T4" fmla="*/ 1505 w 9167"/>
              <a:gd name="T5" fmla="*/ 331 h 2047"/>
              <a:gd name="T6" fmla="*/ 85 w 9167"/>
              <a:gd name="T7" fmla="*/ 78 h 2047"/>
              <a:gd name="T8" fmla="*/ 933 w 9167"/>
              <a:gd name="T9" fmla="*/ 441 h 2047"/>
              <a:gd name="T10" fmla="*/ 0 w 9167"/>
              <a:gd name="T11" fmla="*/ 1782 h 2047"/>
              <a:gd name="T12" fmla="*/ 2894 w 9167"/>
              <a:gd name="T13" fmla="*/ 1454 h 2047"/>
              <a:gd name="T14" fmla="*/ 2275 w 9167"/>
              <a:gd name="T15" fmla="*/ 579 h 2047"/>
              <a:gd name="T16" fmla="*/ 2316 w 9167"/>
              <a:gd name="T17" fmla="*/ 2047 h 2047"/>
              <a:gd name="T18" fmla="*/ 2772 w 9167"/>
              <a:gd name="T19" fmla="*/ 1661 h 2047"/>
              <a:gd name="T20" fmla="*/ 1979 w 9167"/>
              <a:gd name="T21" fmla="*/ 1454 h 2047"/>
              <a:gd name="T22" fmla="*/ 1976 w 9167"/>
              <a:gd name="T23" fmla="*/ 1154 h 2047"/>
              <a:gd name="T24" fmla="*/ 2499 w 9167"/>
              <a:gd name="T25" fmla="*/ 1154 h 2047"/>
              <a:gd name="T26" fmla="*/ 2999 w 9167"/>
              <a:gd name="T27" fmla="*/ 2018 h 2047"/>
              <a:gd name="T28" fmla="*/ 3440 w 9167"/>
              <a:gd name="T29" fmla="*/ 1307 h 2047"/>
              <a:gd name="T30" fmla="*/ 3751 w 9167"/>
              <a:gd name="T31" fmla="*/ 988 h 2047"/>
              <a:gd name="T32" fmla="*/ 3870 w 9167"/>
              <a:gd name="T33" fmla="*/ 587 h 2047"/>
              <a:gd name="T34" fmla="*/ 3394 w 9167"/>
              <a:gd name="T35" fmla="*/ 872 h 2047"/>
              <a:gd name="T36" fmla="*/ 3365 w 9167"/>
              <a:gd name="T37" fmla="*/ 610 h 2047"/>
              <a:gd name="T38" fmla="*/ 2999 w 9167"/>
              <a:gd name="T39" fmla="*/ 1074 h 2047"/>
              <a:gd name="T40" fmla="*/ 5213 w 9167"/>
              <a:gd name="T41" fmla="*/ 1454 h 2047"/>
              <a:gd name="T42" fmla="*/ 4594 w 9167"/>
              <a:gd name="T43" fmla="*/ 579 h 2047"/>
              <a:gd name="T44" fmla="*/ 4634 w 9167"/>
              <a:gd name="T45" fmla="*/ 2047 h 2047"/>
              <a:gd name="T46" fmla="*/ 5091 w 9167"/>
              <a:gd name="T47" fmla="*/ 1661 h 2047"/>
              <a:gd name="T48" fmla="*/ 4297 w 9167"/>
              <a:gd name="T49" fmla="*/ 1454 h 2047"/>
              <a:gd name="T50" fmla="*/ 4294 w 9167"/>
              <a:gd name="T51" fmla="*/ 1154 h 2047"/>
              <a:gd name="T52" fmla="*/ 4817 w 9167"/>
              <a:gd name="T53" fmla="*/ 1154 h 2047"/>
              <a:gd name="T54" fmla="*/ 5303 w 9167"/>
              <a:gd name="T55" fmla="*/ 2018 h 2047"/>
              <a:gd name="T56" fmla="*/ 5733 w 9167"/>
              <a:gd name="T57" fmla="*/ 1201 h 2047"/>
              <a:gd name="T58" fmla="*/ 5956 w 9167"/>
              <a:gd name="T59" fmla="*/ 933 h 2047"/>
              <a:gd name="T60" fmla="*/ 6163 w 9167"/>
              <a:gd name="T61" fmla="*/ 2018 h 2047"/>
              <a:gd name="T62" fmla="*/ 6593 w 9167"/>
              <a:gd name="T63" fmla="*/ 1195 h 2047"/>
              <a:gd name="T64" fmla="*/ 6813 w 9167"/>
              <a:gd name="T65" fmla="*/ 933 h 2047"/>
              <a:gd name="T66" fmla="*/ 7023 w 9167"/>
              <a:gd name="T67" fmla="*/ 2018 h 2047"/>
              <a:gd name="T68" fmla="*/ 7453 w 9167"/>
              <a:gd name="T69" fmla="*/ 1189 h 2047"/>
              <a:gd name="T70" fmla="*/ 6703 w 9167"/>
              <a:gd name="T71" fmla="*/ 648 h 2047"/>
              <a:gd name="T72" fmla="*/ 6511 w 9167"/>
              <a:gd name="T73" fmla="*/ 821 h 2047"/>
              <a:gd name="T74" fmla="*/ 5692 w 9167"/>
              <a:gd name="T75" fmla="*/ 803 h 2047"/>
              <a:gd name="T76" fmla="*/ 5666 w 9167"/>
              <a:gd name="T77" fmla="*/ 610 h 2047"/>
              <a:gd name="T78" fmla="*/ 5303 w 9167"/>
              <a:gd name="T79" fmla="*/ 1060 h 2047"/>
              <a:gd name="T80" fmla="*/ 8010 w 9167"/>
              <a:gd name="T81" fmla="*/ 610 h 2047"/>
              <a:gd name="T82" fmla="*/ 7569 w 9167"/>
              <a:gd name="T83" fmla="*/ 2018 h 2047"/>
              <a:gd name="T84" fmla="*/ 8010 w 9167"/>
              <a:gd name="T85" fmla="*/ 610 h 2047"/>
              <a:gd name="T86" fmla="*/ 8025 w 9167"/>
              <a:gd name="T87" fmla="*/ 219 h 2047"/>
              <a:gd name="T88" fmla="*/ 7557 w 9167"/>
              <a:gd name="T89" fmla="*/ 219 h 2047"/>
              <a:gd name="T90" fmla="*/ 7790 w 9167"/>
              <a:gd name="T91" fmla="*/ 438 h 2047"/>
              <a:gd name="T92" fmla="*/ 8554 w 9167"/>
              <a:gd name="T93" fmla="*/ 2047 h 2047"/>
              <a:gd name="T94" fmla="*/ 8783 w 9167"/>
              <a:gd name="T95" fmla="*/ 1157 h 2047"/>
              <a:gd name="T96" fmla="*/ 8722 w 9167"/>
              <a:gd name="T97" fmla="*/ 884 h 2047"/>
              <a:gd name="T98" fmla="*/ 9106 w 9167"/>
              <a:gd name="T99" fmla="*/ 662 h 2047"/>
              <a:gd name="T100" fmla="*/ 8129 w 9167"/>
              <a:gd name="T101" fmla="*/ 1042 h 2047"/>
              <a:gd name="T102" fmla="*/ 8742 w 9167"/>
              <a:gd name="T103" fmla="*/ 1624 h 2047"/>
              <a:gd name="T104" fmla="*/ 8173 w 9167"/>
              <a:gd name="T105" fmla="*/ 1635 h 20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9167" h="2047">
                <a:moveTo>
                  <a:pt x="0" y="2018"/>
                </a:moveTo>
                <a:cubicBezTo>
                  <a:pt x="1520" y="2018"/>
                  <a:pt x="1520" y="2018"/>
                  <a:pt x="1520" y="2018"/>
                </a:cubicBezTo>
                <a:cubicBezTo>
                  <a:pt x="1520" y="1655"/>
                  <a:pt x="1520" y="1655"/>
                  <a:pt x="1520" y="1655"/>
                </a:cubicBezTo>
                <a:cubicBezTo>
                  <a:pt x="593" y="1655"/>
                  <a:pt x="593" y="1655"/>
                  <a:pt x="593" y="1655"/>
                </a:cubicBezTo>
                <a:cubicBezTo>
                  <a:pt x="593" y="1644"/>
                  <a:pt x="593" y="1644"/>
                  <a:pt x="593" y="1644"/>
                </a:cubicBezTo>
                <a:cubicBezTo>
                  <a:pt x="1505" y="331"/>
                  <a:pt x="1505" y="331"/>
                  <a:pt x="1505" y="331"/>
                </a:cubicBezTo>
                <a:cubicBezTo>
                  <a:pt x="1505" y="78"/>
                  <a:pt x="1505" y="78"/>
                  <a:pt x="1505" y="78"/>
                </a:cubicBezTo>
                <a:cubicBezTo>
                  <a:pt x="85" y="78"/>
                  <a:pt x="85" y="78"/>
                  <a:pt x="85" y="78"/>
                </a:cubicBezTo>
                <a:cubicBezTo>
                  <a:pt x="85" y="441"/>
                  <a:pt x="85" y="441"/>
                  <a:pt x="85" y="441"/>
                </a:cubicBezTo>
                <a:cubicBezTo>
                  <a:pt x="933" y="441"/>
                  <a:pt x="933" y="441"/>
                  <a:pt x="933" y="441"/>
                </a:cubicBezTo>
                <a:cubicBezTo>
                  <a:pt x="933" y="449"/>
                  <a:pt x="933" y="449"/>
                  <a:pt x="933" y="449"/>
                </a:cubicBezTo>
                <a:cubicBezTo>
                  <a:pt x="0" y="1782"/>
                  <a:pt x="0" y="1782"/>
                  <a:pt x="0" y="1782"/>
                </a:cubicBezTo>
                <a:lnTo>
                  <a:pt x="0" y="2018"/>
                </a:lnTo>
                <a:close/>
                <a:moveTo>
                  <a:pt x="2894" y="1454"/>
                </a:moveTo>
                <a:cubicBezTo>
                  <a:pt x="2900" y="1422"/>
                  <a:pt x="2909" y="1356"/>
                  <a:pt x="2909" y="1281"/>
                </a:cubicBezTo>
                <a:cubicBezTo>
                  <a:pt x="2909" y="933"/>
                  <a:pt x="2734" y="579"/>
                  <a:pt x="2275" y="579"/>
                </a:cubicBezTo>
                <a:cubicBezTo>
                  <a:pt x="1784" y="579"/>
                  <a:pt x="1558" y="973"/>
                  <a:pt x="1558" y="1330"/>
                </a:cubicBezTo>
                <a:cubicBezTo>
                  <a:pt x="1558" y="1770"/>
                  <a:pt x="1834" y="2047"/>
                  <a:pt x="2316" y="2047"/>
                </a:cubicBezTo>
                <a:cubicBezTo>
                  <a:pt x="2508" y="2047"/>
                  <a:pt x="2685" y="2018"/>
                  <a:pt x="2830" y="1958"/>
                </a:cubicBezTo>
                <a:cubicBezTo>
                  <a:pt x="2772" y="1661"/>
                  <a:pt x="2772" y="1661"/>
                  <a:pt x="2772" y="1661"/>
                </a:cubicBezTo>
                <a:cubicBezTo>
                  <a:pt x="2653" y="1701"/>
                  <a:pt x="2531" y="1722"/>
                  <a:pt x="2380" y="1722"/>
                </a:cubicBezTo>
                <a:cubicBezTo>
                  <a:pt x="2174" y="1722"/>
                  <a:pt x="1993" y="1635"/>
                  <a:pt x="1979" y="1454"/>
                </a:cubicBezTo>
                <a:lnTo>
                  <a:pt x="2894" y="1454"/>
                </a:lnTo>
                <a:close/>
                <a:moveTo>
                  <a:pt x="1976" y="1154"/>
                </a:moveTo>
                <a:cubicBezTo>
                  <a:pt x="1988" y="1039"/>
                  <a:pt x="2063" y="870"/>
                  <a:pt x="2252" y="870"/>
                </a:cubicBezTo>
                <a:cubicBezTo>
                  <a:pt x="2453" y="870"/>
                  <a:pt x="2499" y="1048"/>
                  <a:pt x="2499" y="1154"/>
                </a:cubicBezTo>
                <a:lnTo>
                  <a:pt x="1976" y="1154"/>
                </a:lnTo>
                <a:close/>
                <a:moveTo>
                  <a:pt x="2999" y="2018"/>
                </a:moveTo>
                <a:cubicBezTo>
                  <a:pt x="3440" y="2018"/>
                  <a:pt x="3440" y="2018"/>
                  <a:pt x="3440" y="2018"/>
                </a:cubicBezTo>
                <a:cubicBezTo>
                  <a:pt x="3440" y="1307"/>
                  <a:pt x="3440" y="1307"/>
                  <a:pt x="3440" y="1307"/>
                </a:cubicBezTo>
                <a:cubicBezTo>
                  <a:pt x="3440" y="1270"/>
                  <a:pt x="3443" y="1238"/>
                  <a:pt x="3449" y="1209"/>
                </a:cubicBezTo>
                <a:cubicBezTo>
                  <a:pt x="3478" y="1071"/>
                  <a:pt x="3589" y="988"/>
                  <a:pt x="3751" y="988"/>
                </a:cubicBezTo>
                <a:cubicBezTo>
                  <a:pt x="3801" y="988"/>
                  <a:pt x="3835" y="993"/>
                  <a:pt x="3870" y="999"/>
                </a:cubicBezTo>
                <a:cubicBezTo>
                  <a:pt x="3870" y="587"/>
                  <a:pt x="3870" y="587"/>
                  <a:pt x="3870" y="587"/>
                </a:cubicBezTo>
                <a:cubicBezTo>
                  <a:pt x="3838" y="582"/>
                  <a:pt x="3818" y="579"/>
                  <a:pt x="3777" y="579"/>
                </a:cubicBezTo>
                <a:cubicBezTo>
                  <a:pt x="3638" y="579"/>
                  <a:pt x="3466" y="665"/>
                  <a:pt x="3394" y="872"/>
                </a:cubicBezTo>
                <a:cubicBezTo>
                  <a:pt x="3382" y="872"/>
                  <a:pt x="3382" y="872"/>
                  <a:pt x="3382" y="872"/>
                </a:cubicBezTo>
                <a:cubicBezTo>
                  <a:pt x="3365" y="610"/>
                  <a:pt x="3365" y="610"/>
                  <a:pt x="3365" y="610"/>
                </a:cubicBezTo>
                <a:cubicBezTo>
                  <a:pt x="2987" y="610"/>
                  <a:pt x="2987" y="610"/>
                  <a:pt x="2987" y="610"/>
                </a:cubicBezTo>
                <a:cubicBezTo>
                  <a:pt x="2996" y="731"/>
                  <a:pt x="2999" y="867"/>
                  <a:pt x="2999" y="1074"/>
                </a:cubicBezTo>
                <a:lnTo>
                  <a:pt x="2999" y="2018"/>
                </a:lnTo>
                <a:close/>
                <a:moveTo>
                  <a:pt x="5213" y="1454"/>
                </a:moveTo>
                <a:cubicBezTo>
                  <a:pt x="5218" y="1422"/>
                  <a:pt x="5227" y="1356"/>
                  <a:pt x="5227" y="1281"/>
                </a:cubicBezTo>
                <a:cubicBezTo>
                  <a:pt x="5227" y="933"/>
                  <a:pt x="5053" y="579"/>
                  <a:pt x="4594" y="579"/>
                </a:cubicBezTo>
                <a:cubicBezTo>
                  <a:pt x="4103" y="579"/>
                  <a:pt x="3876" y="973"/>
                  <a:pt x="3876" y="1330"/>
                </a:cubicBezTo>
                <a:cubicBezTo>
                  <a:pt x="3876" y="1770"/>
                  <a:pt x="4152" y="2047"/>
                  <a:pt x="4634" y="2047"/>
                </a:cubicBezTo>
                <a:cubicBezTo>
                  <a:pt x="4826" y="2047"/>
                  <a:pt x="5003" y="2018"/>
                  <a:pt x="5149" y="1958"/>
                </a:cubicBezTo>
                <a:cubicBezTo>
                  <a:pt x="5091" y="1661"/>
                  <a:pt x="5091" y="1661"/>
                  <a:pt x="5091" y="1661"/>
                </a:cubicBezTo>
                <a:cubicBezTo>
                  <a:pt x="4971" y="1701"/>
                  <a:pt x="4849" y="1722"/>
                  <a:pt x="4698" y="1722"/>
                </a:cubicBezTo>
                <a:cubicBezTo>
                  <a:pt x="4492" y="1722"/>
                  <a:pt x="4312" y="1635"/>
                  <a:pt x="4297" y="1454"/>
                </a:cubicBezTo>
                <a:lnTo>
                  <a:pt x="5213" y="1454"/>
                </a:lnTo>
                <a:close/>
                <a:moveTo>
                  <a:pt x="4294" y="1154"/>
                </a:moveTo>
                <a:cubicBezTo>
                  <a:pt x="4306" y="1039"/>
                  <a:pt x="4382" y="870"/>
                  <a:pt x="4570" y="870"/>
                </a:cubicBezTo>
                <a:cubicBezTo>
                  <a:pt x="4771" y="870"/>
                  <a:pt x="4817" y="1048"/>
                  <a:pt x="4817" y="1154"/>
                </a:cubicBezTo>
                <a:lnTo>
                  <a:pt x="4294" y="1154"/>
                </a:lnTo>
                <a:close/>
                <a:moveTo>
                  <a:pt x="5303" y="2018"/>
                </a:moveTo>
                <a:cubicBezTo>
                  <a:pt x="5733" y="2018"/>
                  <a:pt x="5733" y="2018"/>
                  <a:pt x="5733" y="2018"/>
                </a:cubicBezTo>
                <a:cubicBezTo>
                  <a:pt x="5733" y="1201"/>
                  <a:pt x="5733" y="1201"/>
                  <a:pt x="5733" y="1201"/>
                </a:cubicBezTo>
                <a:cubicBezTo>
                  <a:pt x="5733" y="1163"/>
                  <a:pt x="5736" y="1123"/>
                  <a:pt x="5750" y="1088"/>
                </a:cubicBezTo>
                <a:cubicBezTo>
                  <a:pt x="5776" y="1019"/>
                  <a:pt x="5843" y="933"/>
                  <a:pt x="5956" y="933"/>
                </a:cubicBezTo>
                <a:cubicBezTo>
                  <a:pt x="6099" y="933"/>
                  <a:pt x="6163" y="1054"/>
                  <a:pt x="6163" y="1229"/>
                </a:cubicBezTo>
                <a:cubicBezTo>
                  <a:pt x="6163" y="2018"/>
                  <a:pt x="6163" y="2018"/>
                  <a:pt x="6163" y="2018"/>
                </a:cubicBezTo>
                <a:cubicBezTo>
                  <a:pt x="6593" y="2018"/>
                  <a:pt x="6593" y="2018"/>
                  <a:pt x="6593" y="2018"/>
                </a:cubicBezTo>
                <a:cubicBezTo>
                  <a:pt x="6593" y="1195"/>
                  <a:pt x="6593" y="1195"/>
                  <a:pt x="6593" y="1195"/>
                </a:cubicBezTo>
                <a:cubicBezTo>
                  <a:pt x="6593" y="1160"/>
                  <a:pt x="6598" y="1117"/>
                  <a:pt x="6607" y="1085"/>
                </a:cubicBezTo>
                <a:cubicBezTo>
                  <a:pt x="6639" y="1002"/>
                  <a:pt x="6709" y="933"/>
                  <a:pt x="6813" y="933"/>
                </a:cubicBezTo>
                <a:cubicBezTo>
                  <a:pt x="6956" y="933"/>
                  <a:pt x="7023" y="1051"/>
                  <a:pt x="7023" y="1255"/>
                </a:cubicBezTo>
                <a:cubicBezTo>
                  <a:pt x="7023" y="2018"/>
                  <a:pt x="7023" y="2018"/>
                  <a:pt x="7023" y="2018"/>
                </a:cubicBezTo>
                <a:cubicBezTo>
                  <a:pt x="7453" y="2018"/>
                  <a:pt x="7453" y="2018"/>
                  <a:pt x="7453" y="2018"/>
                </a:cubicBezTo>
                <a:cubicBezTo>
                  <a:pt x="7453" y="1189"/>
                  <a:pt x="7453" y="1189"/>
                  <a:pt x="7453" y="1189"/>
                </a:cubicBezTo>
                <a:cubicBezTo>
                  <a:pt x="7453" y="769"/>
                  <a:pt x="7246" y="579"/>
                  <a:pt x="6973" y="579"/>
                </a:cubicBezTo>
                <a:cubicBezTo>
                  <a:pt x="6869" y="579"/>
                  <a:pt x="6781" y="605"/>
                  <a:pt x="6703" y="648"/>
                </a:cubicBezTo>
                <a:cubicBezTo>
                  <a:pt x="6633" y="688"/>
                  <a:pt x="6572" y="746"/>
                  <a:pt x="6517" y="821"/>
                </a:cubicBezTo>
                <a:cubicBezTo>
                  <a:pt x="6511" y="821"/>
                  <a:pt x="6511" y="821"/>
                  <a:pt x="6511" y="821"/>
                </a:cubicBezTo>
                <a:cubicBezTo>
                  <a:pt x="6450" y="674"/>
                  <a:pt x="6308" y="579"/>
                  <a:pt x="6122" y="579"/>
                </a:cubicBezTo>
                <a:cubicBezTo>
                  <a:pt x="5881" y="579"/>
                  <a:pt x="5753" y="711"/>
                  <a:pt x="5692" y="803"/>
                </a:cubicBezTo>
                <a:cubicBezTo>
                  <a:pt x="5683" y="803"/>
                  <a:pt x="5683" y="803"/>
                  <a:pt x="5683" y="803"/>
                </a:cubicBezTo>
                <a:cubicBezTo>
                  <a:pt x="5666" y="610"/>
                  <a:pt x="5666" y="610"/>
                  <a:pt x="5666" y="610"/>
                </a:cubicBezTo>
                <a:cubicBezTo>
                  <a:pt x="5291" y="610"/>
                  <a:pt x="5291" y="610"/>
                  <a:pt x="5291" y="610"/>
                </a:cubicBezTo>
                <a:cubicBezTo>
                  <a:pt x="5297" y="737"/>
                  <a:pt x="5303" y="884"/>
                  <a:pt x="5303" y="1060"/>
                </a:cubicBezTo>
                <a:lnTo>
                  <a:pt x="5303" y="2018"/>
                </a:lnTo>
                <a:close/>
                <a:moveTo>
                  <a:pt x="8010" y="610"/>
                </a:moveTo>
                <a:cubicBezTo>
                  <a:pt x="7569" y="610"/>
                  <a:pt x="7569" y="610"/>
                  <a:pt x="7569" y="610"/>
                </a:cubicBezTo>
                <a:cubicBezTo>
                  <a:pt x="7569" y="2018"/>
                  <a:pt x="7569" y="2018"/>
                  <a:pt x="7569" y="2018"/>
                </a:cubicBezTo>
                <a:cubicBezTo>
                  <a:pt x="8010" y="2018"/>
                  <a:pt x="8010" y="2018"/>
                  <a:pt x="8010" y="2018"/>
                </a:cubicBezTo>
                <a:lnTo>
                  <a:pt x="8010" y="610"/>
                </a:lnTo>
                <a:close/>
                <a:moveTo>
                  <a:pt x="7790" y="438"/>
                </a:moveTo>
                <a:cubicBezTo>
                  <a:pt x="7935" y="438"/>
                  <a:pt x="8025" y="340"/>
                  <a:pt x="8025" y="219"/>
                </a:cubicBezTo>
                <a:cubicBezTo>
                  <a:pt x="8022" y="95"/>
                  <a:pt x="7935" y="0"/>
                  <a:pt x="7792" y="0"/>
                </a:cubicBezTo>
                <a:cubicBezTo>
                  <a:pt x="7650" y="0"/>
                  <a:pt x="7557" y="95"/>
                  <a:pt x="7557" y="219"/>
                </a:cubicBezTo>
                <a:cubicBezTo>
                  <a:pt x="7557" y="340"/>
                  <a:pt x="7647" y="438"/>
                  <a:pt x="7787" y="438"/>
                </a:cubicBezTo>
                <a:lnTo>
                  <a:pt x="7790" y="438"/>
                </a:lnTo>
                <a:close/>
                <a:moveTo>
                  <a:pt x="8095" y="1946"/>
                </a:moveTo>
                <a:cubicBezTo>
                  <a:pt x="8202" y="2004"/>
                  <a:pt x="8368" y="2047"/>
                  <a:pt x="8554" y="2047"/>
                </a:cubicBezTo>
                <a:cubicBezTo>
                  <a:pt x="8960" y="2047"/>
                  <a:pt x="9167" y="1854"/>
                  <a:pt x="9167" y="1589"/>
                </a:cubicBezTo>
                <a:cubicBezTo>
                  <a:pt x="9164" y="1385"/>
                  <a:pt x="9053" y="1249"/>
                  <a:pt x="8783" y="1157"/>
                </a:cubicBezTo>
                <a:cubicBezTo>
                  <a:pt x="8609" y="1100"/>
                  <a:pt x="8554" y="1062"/>
                  <a:pt x="8554" y="996"/>
                </a:cubicBezTo>
                <a:cubicBezTo>
                  <a:pt x="8554" y="927"/>
                  <a:pt x="8615" y="884"/>
                  <a:pt x="8722" y="884"/>
                </a:cubicBezTo>
                <a:cubicBezTo>
                  <a:pt x="8841" y="884"/>
                  <a:pt x="8966" y="930"/>
                  <a:pt x="9030" y="962"/>
                </a:cubicBezTo>
                <a:cubicBezTo>
                  <a:pt x="9106" y="662"/>
                  <a:pt x="9106" y="662"/>
                  <a:pt x="9106" y="662"/>
                </a:cubicBezTo>
                <a:cubicBezTo>
                  <a:pt x="9018" y="619"/>
                  <a:pt x="8873" y="579"/>
                  <a:pt x="8708" y="579"/>
                </a:cubicBezTo>
                <a:cubicBezTo>
                  <a:pt x="8356" y="579"/>
                  <a:pt x="8129" y="777"/>
                  <a:pt x="8129" y="1042"/>
                </a:cubicBezTo>
                <a:cubicBezTo>
                  <a:pt x="8127" y="1206"/>
                  <a:pt x="8240" y="1365"/>
                  <a:pt x="8536" y="1462"/>
                </a:cubicBezTo>
                <a:cubicBezTo>
                  <a:pt x="8699" y="1514"/>
                  <a:pt x="8742" y="1552"/>
                  <a:pt x="8742" y="1624"/>
                </a:cubicBezTo>
                <a:cubicBezTo>
                  <a:pt x="8742" y="1696"/>
                  <a:pt x="8687" y="1739"/>
                  <a:pt x="8554" y="1739"/>
                </a:cubicBezTo>
                <a:cubicBezTo>
                  <a:pt x="8423" y="1739"/>
                  <a:pt x="8254" y="1684"/>
                  <a:pt x="8173" y="1635"/>
                </a:cubicBezTo>
                <a:lnTo>
                  <a:pt x="8095" y="19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749">
              <a:defRPr/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5BE0A24-0263-A41B-D2B6-0435FBCBD5F5}"/>
              </a:ext>
            </a:extLst>
          </p:cNvPr>
          <p:cNvSpPr/>
          <p:nvPr/>
        </p:nvSpPr>
        <p:spPr>
          <a:xfrm>
            <a:off x="755065" y="2552824"/>
            <a:ext cx="1269752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Low carbon emission steel</a:t>
            </a:r>
          </a:p>
          <a:p>
            <a:pPr defTabSz="685749">
              <a:lnSpc>
                <a:spcPct val="90000"/>
              </a:lnSpc>
              <a:defRPr/>
            </a:pPr>
            <a:endParaRPr lang="en-GB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r>
              <a:rPr lang="en-GB" sz="1200">
                <a:solidFill>
                  <a:srgbClr val="002B45"/>
                </a:solidFill>
                <a:latin typeface="Arial"/>
              </a:rPr>
              <a:t>Carbon Lite</a:t>
            </a:r>
          </a:p>
          <a:p>
            <a:pPr defTabSz="685749">
              <a:lnSpc>
                <a:spcPct val="90000"/>
              </a:lnSpc>
              <a:defRPr/>
            </a:pPr>
            <a:endParaRPr lang="en-GB" sz="1200" b="1">
              <a:solidFill>
                <a:srgbClr val="002B45"/>
              </a:solidFill>
              <a:latin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FFEB85C-6780-00FE-0EE5-48633A6BE200}"/>
              </a:ext>
            </a:extLst>
          </p:cNvPr>
          <p:cNvSpPr/>
          <p:nvPr/>
        </p:nvSpPr>
        <p:spPr>
          <a:xfrm>
            <a:off x="2284452" y="2552824"/>
            <a:ext cx="1269752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Recycled </a:t>
            </a:r>
            <a:br>
              <a:rPr lang="en-GB" sz="1200" b="1">
                <a:solidFill>
                  <a:srgbClr val="002B45"/>
                </a:solidFill>
                <a:latin typeface="Arial"/>
              </a:rPr>
            </a:br>
            <a:r>
              <a:rPr lang="en-GB" sz="1200" b="1">
                <a:solidFill>
                  <a:srgbClr val="002B45"/>
                </a:solidFill>
                <a:latin typeface="Arial"/>
              </a:rPr>
              <a:t>content</a:t>
            </a:r>
            <a:endParaRPr lang="en-NL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endParaRPr lang="en-NL" sz="1200" b="1">
              <a:solidFill>
                <a:srgbClr val="002B45"/>
              </a:solidFill>
              <a:latin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09C2CB5-E049-2F0E-A76A-EA70A39C1BD1}"/>
              </a:ext>
            </a:extLst>
          </p:cNvPr>
          <p:cNvSpPr/>
          <p:nvPr/>
        </p:nvSpPr>
        <p:spPr>
          <a:xfrm>
            <a:off x="3848137" y="2552824"/>
            <a:ext cx="1188763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Zero-carbon logistics</a:t>
            </a:r>
            <a:endParaRPr lang="en-NL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endParaRPr lang="en-NL" sz="1200" b="1">
              <a:solidFill>
                <a:srgbClr val="002B45"/>
              </a:solidFill>
              <a:latin typeface="Arial"/>
            </a:endParaRPr>
          </a:p>
          <a:p>
            <a:pPr defTabSz="685749">
              <a:lnSpc>
                <a:spcPct val="90000"/>
              </a:lnSpc>
              <a:defRPr/>
            </a:pPr>
            <a:r>
              <a:rPr lang="en-NL" sz="1000" err="1">
                <a:solidFill>
                  <a:srgbClr val="002B45"/>
                </a:solidFill>
                <a:latin typeface="Arial"/>
              </a:rPr>
              <a:t>Zeremis</a:t>
            </a:r>
            <a:r>
              <a:rPr lang="en-NL" sz="1000">
                <a:solidFill>
                  <a:srgbClr val="002B45"/>
                </a:solidFill>
                <a:latin typeface="Arial"/>
              </a:rPr>
              <a:t> Delivered</a:t>
            </a:r>
            <a:r>
              <a:rPr lang="en-NL" sz="1200">
                <a:solidFill>
                  <a:srgbClr val="002B45"/>
                </a:solidFill>
                <a:latin typeface="Arial"/>
              </a:rPr>
              <a:t>.</a:t>
            </a:r>
            <a:endParaRPr lang="en-GB" sz="1200">
              <a:solidFill>
                <a:srgbClr val="002B45"/>
              </a:solidFill>
              <a:latin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614FF0-9AA2-88B5-ABC8-C52E894B9B92}"/>
              </a:ext>
            </a:extLst>
          </p:cNvPr>
          <p:cNvSpPr/>
          <p:nvPr/>
        </p:nvSpPr>
        <p:spPr>
          <a:xfrm>
            <a:off x="5374039" y="2552824"/>
            <a:ext cx="1269753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GB" sz="1200" b="1">
                <a:solidFill>
                  <a:srgbClr val="002B45"/>
                </a:solidFill>
                <a:latin typeface="Arial"/>
              </a:rPr>
              <a:t>Carbon neutral downstream operations</a:t>
            </a:r>
          </a:p>
        </p:txBody>
      </p:sp>
      <p:sp>
        <p:nvSpPr>
          <p:cNvPr id="17" name="Freeform 5">
            <a:extLst>
              <a:ext uri="{FF2B5EF4-FFF2-40B4-BE49-F238E27FC236}">
                <a16:creationId xmlns:a16="http://schemas.microsoft.com/office/drawing/2014/main" id="{237A2C89-7129-0AB2-DC7C-85C01C1609AE}"/>
              </a:ext>
            </a:extLst>
          </p:cNvPr>
          <p:cNvSpPr>
            <a:spLocks/>
          </p:cNvSpPr>
          <p:nvPr/>
        </p:nvSpPr>
        <p:spPr bwMode="auto">
          <a:xfrm>
            <a:off x="0" y="2083701"/>
            <a:ext cx="8586786" cy="363746"/>
          </a:xfrm>
          <a:custGeom>
            <a:avLst/>
            <a:gdLst>
              <a:gd name="T0" fmla="*/ 5638 w 5760"/>
              <a:gd name="T1" fmla="*/ 0 h 244"/>
              <a:gd name="T2" fmla="*/ 5534 w 5760"/>
              <a:gd name="T3" fmla="*/ 0 h 244"/>
              <a:gd name="T4" fmla="*/ 5620 w 5760"/>
              <a:gd name="T5" fmla="*/ 86 h 244"/>
              <a:gd name="T6" fmla="*/ 0 w 5760"/>
              <a:gd name="T7" fmla="*/ 86 h 244"/>
              <a:gd name="T8" fmla="*/ 0 w 5760"/>
              <a:gd name="T9" fmla="*/ 154 h 244"/>
              <a:gd name="T10" fmla="*/ 5624 w 5760"/>
              <a:gd name="T11" fmla="*/ 154 h 244"/>
              <a:gd name="T12" fmla="*/ 5534 w 5760"/>
              <a:gd name="T13" fmla="*/ 244 h 244"/>
              <a:gd name="T14" fmla="*/ 5638 w 5760"/>
              <a:gd name="T15" fmla="*/ 244 h 244"/>
              <a:gd name="T16" fmla="*/ 5760 w 5760"/>
              <a:gd name="T17" fmla="*/ 122 h 244"/>
              <a:gd name="T18" fmla="*/ 5638 w 5760"/>
              <a:gd name="T19" fmla="*/ 0 h 2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5760" h="244">
                <a:moveTo>
                  <a:pt x="5638" y="0"/>
                </a:moveTo>
                <a:lnTo>
                  <a:pt x="5534" y="0"/>
                </a:lnTo>
                <a:lnTo>
                  <a:pt x="5620" y="86"/>
                </a:lnTo>
                <a:lnTo>
                  <a:pt x="0" y="86"/>
                </a:lnTo>
                <a:lnTo>
                  <a:pt x="0" y="154"/>
                </a:lnTo>
                <a:lnTo>
                  <a:pt x="5624" y="154"/>
                </a:lnTo>
                <a:lnTo>
                  <a:pt x="5534" y="244"/>
                </a:lnTo>
                <a:lnTo>
                  <a:pt x="5638" y="244"/>
                </a:lnTo>
                <a:lnTo>
                  <a:pt x="5760" y="122"/>
                </a:lnTo>
                <a:lnTo>
                  <a:pt x="5638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685749">
              <a:defRPr/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Tekstvak 15">
            <a:extLst>
              <a:ext uri="{FF2B5EF4-FFF2-40B4-BE49-F238E27FC236}">
                <a16:creationId xmlns:a16="http://schemas.microsoft.com/office/drawing/2014/main" id="{3F5660BB-FF8B-4A82-95EF-E4FA0C546E87}"/>
              </a:ext>
            </a:extLst>
          </p:cNvPr>
          <p:cNvSpPr txBox="1"/>
          <p:nvPr/>
        </p:nvSpPr>
        <p:spPr>
          <a:xfrm>
            <a:off x="3290747" y="1387483"/>
            <a:ext cx="393267" cy="36945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685749">
              <a:defRPr/>
            </a:pPr>
            <a:r>
              <a:rPr lang="nl-NL" sz="1600">
                <a:solidFill>
                  <a:prstClr val="white"/>
                </a:solidFill>
                <a:latin typeface="Arial"/>
              </a:rPr>
              <a:t>®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F8EC46C-235C-4A32-A43C-639D6A1AFC8A}"/>
              </a:ext>
            </a:extLst>
          </p:cNvPr>
          <p:cNvSpPr/>
          <p:nvPr/>
        </p:nvSpPr>
        <p:spPr>
          <a:xfrm>
            <a:off x="6980932" y="2552824"/>
            <a:ext cx="1269753" cy="770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defTabSz="685749">
              <a:lnSpc>
                <a:spcPct val="90000"/>
              </a:lnSpc>
              <a:defRPr/>
            </a:pPr>
            <a:r>
              <a:rPr lang="en-NL" sz="1200" b="1">
                <a:solidFill>
                  <a:srgbClr val="002B45"/>
                </a:solidFill>
                <a:latin typeface="Arial"/>
              </a:rPr>
              <a:t>Partner Solutions</a:t>
            </a:r>
          </a:p>
          <a:p>
            <a:pPr defTabSz="685749">
              <a:lnSpc>
                <a:spcPct val="90000"/>
              </a:lnSpc>
              <a:defRPr/>
            </a:pPr>
            <a:endParaRPr lang="en-NL" sz="1200" b="1">
              <a:solidFill>
                <a:srgbClr val="002B45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2D4ADB9-2797-493E-8E3B-C3BF6E9C88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7529" y="3481824"/>
            <a:ext cx="853156" cy="1023064"/>
          </a:xfrm>
          <a:prstGeom prst="rect">
            <a:avLst/>
          </a:prstGeom>
        </p:spPr>
      </p:pic>
      <p:sp>
        <p:nvSpPr>
          <p:cNvPr id="3" name="Footer Placeholder 1">
            <a:extLst>
              <a:ext uri="{FF2B5EF4-FFF2-40B4-BE49-F238E27FC236}">
                <a16:creationId xmlns:a16="http://schemas.microsoft.com/office/drawing/2014/main" id="{73A31EFE-0727-C652-8675-4AA9DEB2F5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57212" y="4838401"/>
            <a:ext cx="5124233" cy="186038"/>
          </a:xfrm>
        </p:spPr>
        <p:txBody>
          <a:bodyPr/>
          <a:lstStyle/>
          <a:p>
            <a:pPr defTabSz="685783">
              <a:defRPr/>
            </a:pPr>
            <a:r>
              <a:rPr lang="en-US">
                <a:solidFill>
                  <a:prstClr val="white"/>
                </a:solidFill>
                <a:latin typeface="Arial"/>
              </a:rPr>
              <a:t>Tata Steel  |  Zeremis Presentation  |  October 2023</a:t>
            </a:r>
            <a:endParaRPr lang="en-GB">
              <a:solidFill>
                <a:prstClr val="white"/>
              </a:solidFill>
              <a:latin typeface="Arial"/>
            </a:endParaRP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09C63178-F051-2CAC-35F4-E31CB250E1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692" t="37938" r="3321" b="24611"/>
          <a:stretch/>
        </p:blipFill>
        <p:spPr>
          <a:xfrm>
            <a:off x="755064" y="3481824"/>
            <a:ext cx="1269752" cy="613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5937585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B709DA-7250-4688-0F87-BC6A6863B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r track record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FAEAED-1EC9-A538-5BA2-C9FBC650D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B15794-3E21-9267-5961-4E4707AF6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47967874-C332-60F8-2CC6-BFC950B486DC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0" y="2240924"/>
            <a:ext cx="8586788" cy="2291389"/>
          </a:xfrm>
          <a:custGeom>
            <a:avLst/>
            <a:gdLst>
              <a:gd name="T0" fmla="*/ 12810 w 13351"/>
              <a:gd name="T1" fmla="*/ 2313 h 3945"/>
              <a:gd name="T2" fmla="*/ 12945 w 13351"/>
              <a:gd name="T3" fmla="*/ 2480 h 3945"/>
              <a:gd name="T4" fmla="*/ 10635 w 13351"/>
              <a:gd name="T5" fmla="*/ 2507 h 3945"/>
              <a:gd name="T6" fmla="*/ 11263 w 13351"/>
              <a:gd name="T7" fmla="*/ 1926 h 3945"/>
              <a:gd name="T8" fmla="*/ 11737 w 13351"/>
              <a:gd name="T9" fmla="*/ 1528 h 3945"/>
              <a:gd name="T10" fmla="*/ 10952 w 13351"/>
              <a:gd name="T11" fmla="*/ 1457 h 3945"/>
              <a:gd name="T12" fmla="*/ 10082 w 13351"/>
              <a:gd name="T13" fmla="*/ 858 h 3945"/>
              <a:gd name="T14" fmla="*/ 9768 w 13351"/>
              <a:gd name="T15" fmla="*/ 1 h 3945"/>
              <a:gd name="T16" fmla="*/ 9369 w 13351"/>
              <a:gd name="T17" fmla="*/ 990 h 3945"/>
              <a:gd name="T18" fmla="*/ 8732 w 13351"/>
              <a:gd name="T19" fmla="*/ 1431 h 3945"/>
              <a:gd name="T20" fmla="*/ 7768 w 13351"/>
              <a:gd name="T21" fmla="*/ 1476 h 3945"/>
              <a:gd name="T22" fmla="*/ 8350 w 13351"/>
              <a:gd name="T23" fmla="*/ 2001 h 3945"/>
              <a:gd name="T24" fmla="*/ 8884 w 13351"/>
              <a:gd name="T25" fmla="*/ 2521 h 3945"/>
              <a:gd name="T26" fmla="*/ 8217 w 13351"/>
              <a:gd name="T27" fmla="*/ 2589 h 3945"/>
              <a:gd name="T28" fmla="*/ 2189 w 13351"/>
              <a:gd name="T29" fmla="*/ 2691 h 3945"/>
              <a:gd name="T30" fmla="*/ 0 w 13351"/>
              <a:gd name="T31" fmla="*/ 3218 h 3945"/>
              <a:gd name="T32" fmla="*/ 2219 w 13351"/>
              <a:gd name="T33" fmla="*/ 2847 h 3945"/>
              <a:gd name="T34" fmla="*/ 8182 w 13351"/>
              <a:gd name="T35" fmla="*/ 2744 h 3945"/>
              <a:gd name="T36" fmla="*/ 9031 w 13351"/>
              <a:gd name="T37" fmla="*/ 2582 h 3945"/>
              <a:gd name="T38" fmla="*/ 8435 w 13351"/>
              <a:gd name="T39" fmla="*/ 1867 h 3945"/>
              <a:gd name="T40" fmla="*/ 8727 w 13351"/>
              <a:gd name="T41" fmla="*/ 1589 h 3945"/>
              <a:gd name="T42" fmla="*/ 9760 w 13351"/>
              <a:gd name="T43" fmla="*/ 316 h 3945"/>
              <a:gd name="T44" fmla="*/ 10950 w 13351"/>
              <a:gd name="T45" fmla="*/ 1615 h 3945"/>
              <a:gd name="T46" fmla="*/ 11176 w 13351"/>
              <a:gd name="T47" fmla="*/ 1794 h 3945"/>
              <a:gd name="T48" fmla="*/ 10498 w 13351"/>
              <a:gd name="T49" fmla="*/ 2360 h 3945"/>
              <a:gd name="T50" fmla="*/ 9031 w 13351"/>
              <a:gd name="T51" fmla="*/ 2856 h 3945"/>
              <a:gd name="T52" fmla="*/ 8502 w 13351"/>
              <a:gd name="T53" fmla="*/ 3791 h 3945"/>
              <a:gd name="T54" fmla="*/ 8623 w 13351"/>
              <a:gd name="T55" fmla="*/ 3837 h 3945"/>
              <a:gd name="T56" fmla="*/ 9758 w 13351"/>
              <a:gd name="T57" fmla="*/ 3070 h 3945"/>
              <a:gd name="T58" fmla="*/ 10188 w 13351"/>
              <a:gd name="T59" fmla="*/ 3358 h 3945"/>
              <a:gd name="T60" fmla="*/ 10941 w 13351"/>
              <a:gd name="T61" fmla="*/ 3945 h 3945"/>
              <a:gd name="T62" fmla="*/ 11020 w 13351"/>
              <a:gd name="T63" fmla="*/ 3872 h 3945"/>
              <a:gd name="T64" fmla="*/ 10654 w 13351"/>
              <a:gd name="T65" fmla="*/ 2671 h 3945"/>
              <a:gd name="T66" fmla="*/ 12971 w 13351"/>
              <a:gd name="T67" fmla="*/ 2636 h 3945"/>
              <a:gd name="T68" fmla="*/ 12917 w 13351"/>
              <a:gd name="T69" fmla="*/ 2839 h 3945"/>
              <a:gd name="T70" fmla="*/ 13351 w 13351"/>
              <a:gd name="T71" fmla="*/ 2477 h 3945"/>
              <a:gd name="T72" fmla="*/ 10676 w 13351"/>
              <a:gd name="T73" fmla="*/ 3203 h 3945"/>
              <a:gd name="T74" fmla="*/ 10292 w 13351"/>
              <a:gd name="T75" fmla="*/ 3238 h 3945"/>
              <a:gd name="T76" fmla="*/ 9215 w 13351"/>
              <a:gd name="T77" fmla="*/ 3213 h 3945"/>
              <a:gd name="T78" fmla="*/ 9058 w 13351"/>
              <a:gd name="T79" fmla="*/ 3047 h 3945"/>
              <a:gd name="T80" fmla="*/ 10487 w 13351"/>
              <a:gd name="T81" fmla="*/ 2638 h 39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351" h="3945">
                <a:moveTo>
                  <a:pt x="13034" y="2267"/>
                </a:moveTo>
                <a:cubicBezTo>
                  <a:pt x="12810" y="2313"/>
                  <a:pt x="12810" y="2313"/>
                  <a:pt x="12810" y="2313"/>
                </a:cubicBezTo>
                <a:cubicBezTo>
                  <a:pt x="13038" y="2464"/>
                  <a:pt x="13038" y="2464"/>
                  <a:pt x="13038" y="2464"/>
                </a:cubicBezTo>
                <a:cubicBezTo>
                  <a:pt x="13007" y="2469"/>
                  <a:pt x="12976" y="2474"/>
                  <a:pt x="12945" y="2480"/>
                </a:cubicBezTo>
                <a:cubicBezTo>
                  <a:pt x="12622" y="2535"/>
                  <a:pt x="12344" y="2582"/>
                  <a:pt x="12083" y="2582"/>
                </a:cubicBezTo>
                <a:cubicBezTo>
                  <a:pt x="11762" y="2582"/>
                  <a:pt x="10892" y="2556"/>
                  <a:pt x="10635" y="2507"/>
                </a:cubicBezTo>
                <a:cubicBezTo>
                  <a:pt x="10636" y="2472"/>
                  <a:pt x="10640" y="2439"/>
                  <a:pt x="10649" y="2409"/>
                </a:cubicBezTo>
                <a:cubicBezTo>
                  <a:pt x="10691" y="2303"/>
                  <a:pt x="11021" y="2085"/>
                  <a:pt x="11263" y="1926"/>
                </a:cubicBezTo>
                <a:cubicBezTo>
                  <a:pt x="11424" y="1820"/>
                  <a:pt x="11590" y="1710"/>
                  <a:pt x="11711" y="1614"/>
                </a:cubicBezTo>
                <a:cubicBezTo>
                  <a:pt x="11737" y="1594"/>
                  <a:pt x="11747" y="1559"/>
                  <a:pt x="11737" y="1528"/>
                </a:cubicBezTo>
                <a:cubicBezTo>
                  <a:pt x="11727" y="1496"/>
                  <a:pt x="11698" y="1474"/>
                  <a:pt x="11665" y="1473"/>
                </a:cubicBezTo>
                <a:cubicBezTo>
                  <a:pt x="11372" y="1461"/>
                  <a:pt x="11139" y="1459"/>
                  <a:pt x="10952" y="1457"/>
                </a:cubicBezTo>
                <a:cubicBezTo>
                  <a:pt x="10596" y="1453"/>
                  <a:pt x="10400" y="1451"/>
                  <a:pt x="10302" y="1383"/>
                </a:cubicBezTo>
                <a:cubicBezTo>
                  <a:pt x="10208" y="1317"/>
                  <a:pt x="10166" y="1164"/>
                  <a:pt x="10082" y="858"/>
                </a:cubicBezTo>
                <a:cubicBezTo>
                  <a:pt x="10029" y="663"/>
                  <a:pt x="9957" y="397"/>
                  <a:pt x="9841" y="54"/>
                </a:cubicBezTo>
                <a:cubicBezTo>
                  <a:pt x="9830" y="23"/>
                  <a:pt x="9801" y="1"/>
                  <a:pt x="9768" y="1"/>
                </a:cubicBezTo>
                <a:cubicBezTo>
                  <a:pt x="9735" y="0"/>
                  <a:pt x="9704" y="20"/>
                  <a:pt x="9692" y="51"/>
                </a:cubicBezTo>
                <a:cubicBezTo>
                  <a:pt x="9524" y="475"/>
                  <a:pt x="9435" y="773"/>
                  <a:pt x="9369" y="990"/>
                </a:cubicBezTo>
                <a:cubicBezTo>
                  <a:pt x="9299" y="1222"/>
                  <a:pt x="9261" y="1350"/>
                  <a:pt x="9194" y="1397"/>
                </a:cubicBezTo>
                <a:cubicBezTo>
                  <a:pt x="9126" y="1444"/>
                  <a:pt x="8986" y="1439"/>
                  <a:pt x="8732" y="1431"/>
                </a:cubicBezTo>
                <a:cubicBezTo>
                  <a:pt x="8523" y="1424"/>
                  <a:pt x="8238" y="1414"/>
                  <a:pt x="7838" y="1428"/>
                </a:cubicBezTo>
                <a:cubicBezTo>
                  <a:pt x="7808" y="1429"/>
                  <a:pt x="7780" y="1448"/>
                  <a:pt x="7768" y="1476"/>
                </a:cubicBezTo>
                <a:cubicBezTo>
                  <a:pt x="7756" y="1504"/>
                  <a:pt x="7762" y="1537"/>
                  <a:pt x="7782" y="1560"/>
                </a:cubicBezTo>
                <a:cubicBezTo>
                  <a:pt x="7944" y="1740"/>
                  <a:pt x="8150" y="1872"/>
                  <a:pt x="8350" y="2001"/>
                </a:cubicBezTo>
                <a:cubicBezTo>
                  <a:pt x="8544" y="2126"/>
                  <a:pt x="8728" y="2244"/>
                  <a:pt x="8874" y="2402"/>
                </a:cubicBezTo>
                <a:cubicBezTo>
                  <a:pt x="8901" y="2432"/>
                  <a:pt x="8905" y="2472"/>
                  <a:pt x="8884" y="2521"/>
                </a:cubicBezTo>
                <a:cubicBezTo>
                  <a:pt x="8849" y="2607"/>
                  <a:pt x="8760" y="2674"/>
                  <a:pt x="8702" y="2677"/>
                </a:cubicBezTo>
                <a:cubicBezTo>
                  <a:pt x="8630" y="2681"/>
                  <a:pt x="8457" y="2643"/>
                  <a:pt x="8217" y="2589"/>
                </a:cubicBezTo>
                <a:cubicBezTo>
                  <a:pt x="7820" y="2501"/>
                  <a:pt x="7221" y="2367"/>
                  <a:pt x="6427" y="2281"/>
                </a:cubicBezTo>
                <a:cubicBezTo>
                  <a:pt x="5095" y="2136"/>
                  <a:pt x="3618" y="2418"/>
                  <a:pt x="2189" y="2691"/>
                </a:cubicBezTo>
                <a:cubicBezTo>
                  <a:pt x="1467" y="2829"/>
                  <a:pt x="0" y="3058"/>
                  <a:pt x="0" y="3058"/>
                </a:cubicBezTo>
                <a:cubicBezTo>
                  <a:pt x="0" y="3218"/>
                  <a:pt x="0" y="3218"/>
                  <a:pt x="0" y="3218"/>
                </a:cubicBezTo>
                <a:cubicBezTo>
                  <a:pt x="9" y="3217"/>
                  <a:pt x="9" y="3217"/>
                  <a:pt x="9" y="3217"/>
                </a:cubicBezTo>
                <a:cubicBezTo>
                  <a:pt x="739" y="3129"/>
                  <a:pt x="1491" y="2986"/>
                  <a:pt x="2219" y="2847"/>
                </a:cubicBezTo>
                <a:cubicBezTo>
                  <a:pt x="3636" y="2576"/>
                  <a:pt x="5101" y="2297"/>
                  <a:pt x="6410" y="2438"/>
                </a:cubicBezTo>
                <a:cubicBezTo>
                  <a:pt x="7195" y="2523"/>
                  <a:pt x="7789" y="2656"/>
                  <a:pt x="8182" y="2744"/>
                </a:cubicBezTo>
                <a:cubicBezTo>
                  <a:pt x="8454" y="2805"/>
                  <a:pt x="8617" y="2841"/>
                  <a:pt x="8711" y="2835"/>
                </a:cubicBezTo>
                <a:cubicBezTo>
                  <a:pt x="8836" y="2830"/>
                  <a:pt x="8974" y="2721"/>
                  <a:pt x="9031" y="2582"/>
                </a:cubicBezTo>
                <a:cubicBezTo>
                  <a:pt x="9075" y="2475"/>
                  <a:pt x="9060" y="2370"/>
                  <a:pt x="8991" y="2295"/>
                </a:cubicBezTo>
                <a:cubicBezTo>
                  <a:pt x="8831" y="2122"/>
                  <a:pt x="8630" y="1992"/>
                  <a:pt x="8435" y="1867"/>
                </a:cubicBezTo>
                <a:cubicBezTo>
                  <a:pt x="8291" y="1775"/>
                  <a:pt x="8153" y="1686"/>
                  <a:pt x="8031" y="1581"/>
                </a:cubicBezTo>
                <a:cubicBezTo>
                  <a:pt x="8330" y="1576"/>
                  <a:pt x="8555" y="1583"/>
                  <a:pt x="8727" y="1589"/>
                </a:cubicBezTo>
                <a:cubicBezTo>
                  <a:pt x="9325" y="1609"/>
                  <a:pt x="9354" y="1588"/>
                  <a:pt x="9521" y="1036"/>
                </a:cubicBezTo>
                <a:cubicBezTo>
                  <a:pt x="9574" y="859"/>
                  <a:pt x="9644" y="627"/>
                  <a:pt x="9760" y="316"/>
                </a:cubicBezTo>
                <a:cubicBezTo>
                  <a:pt x="9835" y="552"/>
                  <a:pt x="9886" y="741"/>
                  <a:pt x="9929" y="900"/>
                </a:cubicBezTo>
                <a:cubicBezTo>
                  <a:pt x="10117" y="1587"/>
                  <a:pt x="10146" y="1607"/>
                  <a:pt x="10950" y="1615"/>
                </a:cubicBezTo>
                <a:cubicBezTo>
                  <a:pt x="11085" y="1617"/>
                  <a:pt x="11243" y="1618"/>
                  <a:pt x="11430" y="1623"/>
                </a:cubicBezTo>
                <a:cubicBezTo>
                  <a:pt x="11350" y="1679"/>
                  <a:pt x="11262" y="1737"/>
                  <a:pt x="11176" y="1794"/>
                </a:cubicBezTo>
                <a:cubicBezTo>
                  <a:pt x="10790" y="2048"/>
                  <a:pt x="10553" y="2212"/>
                  <a:pt x="10500" y="2356"/>
                </a:cubicBezTo>
                <a:cubicBezTo>
                  <a:pt x="10499" y="2357"/>
                  <a:pt x="10499" y="2359"/>
                  <a:pt x="10498" y="2360"/>
                </a:cubicBezTo>
                <a:cubicBezTo>
                  <a:pt x="10487" y="2397"/>
                  <a:pt x="10480" y="2435"/>
                  <a:pt x="10478" y="2475"/>
                </a:cubicBezTo>
                <a:cubicBezTo>
                  <a:pt x="9781" y="2358"/>
                  <a:pt x="9246" y="2653"/>
                  <a:pt x="9031" y="2856"/>
                </a:cubicBezTo>
                <a:cubicBezTo>
                  <a:pt x="9009" y="2878"/>
                  <a:pt x="8981" y="2902"/>
                  <a:pt x="8952" y="2928"/>
                </a:cubicBezTo>
                <a:cubicBezTo>
                  <a:pt x="8748" y="3110"/>
                  <a:pt x="8407" y="3413"/>
                  <a:pt x="8502" y="3791"/>
                </a:cubicBezTo>
                <a:cubicBezTo>
                  <a:pt x="8508" y="3816"/>
                  <a:pt x="8526" y="3836"/>
                  <a:pt x="8550" y="3845"/>
                </a:cubicBezTo>
                <a:cubicBezTo>
                  <a:pt x="8574" y="3855"/>
                  <a:pt x="8601" y="3852"/>
                  <a:pt x="8623" y="3837"/>
                </a:cubicBezTo>
                <a:cubicBezTo>
                  <a:pt x="8928" y="3631"/>
                  <a:pt x="9150" y="3462"/>
                  <a:pt x="9311" y="3339"/>
                </a:cubicBezTo>
                <a:cubicBezTo>
                  <a:pt x="9538" y="3166"/>
                  <a:pt x="9664" y="3070"/>
                  <a:pt x="9758" y="3070"/>
                </a:cubicBezTo>
                <a:cubicBezTo>
                  <a:pt x="9759" y="3070"/>
                  <a:pt x="9760" y="3070"/>
                  <a:pt x="9761" y="3070"/>
                </a:cubicBezTo>
                <a:cubicBezTo>
                  <a:pt x="9855" y="3072"/>
                  <a:pt x="9974" y="3174"/>
                  <a:pt x="10188" y="3358"/>
                </a:cubicBezTo>
                <a:cubicBezTo>
                  <a:pt x="10351" y="3498"/>
                  <a:pt x="10574" y="3690"/>
                  <a:pt x="10893" y="3930"/>
                </a:cubicBezTo>
                <a:cubicBezTo>
                  <a:pt x="10907" y="3940"/>
                  <a:pt x="10924" y="3945"/>
                  <a:pt x="10941" y="3945"/>
                </a:cubicBezTo>
                <a:cubicBezTo>
                  <a:pt x="10952" y="3945"/>
                  <a:pt x="10963" y="3943"/>
                  <a:pt x="10973" y="3938"/>
                </a:cubicBezTo>
                <a:cubicBezTo>
                  <a:pt x="11000" y="3926"/>
                  <a:pt x="11018" y="3901"/>
                  <a:pt x="11020" y="3872"/>
                </a:cubicBezTo>
                <a:cubicBezTo>
                  <a:pt x="11036" y="3654"/>
                  <a:pt x="10928" y="3394"/>
                  <a:pt x="10822" y="3142"/>
                </a:cubicBezTo>
                <a:cubicBezTo>
                  <a:pt x="10755" y="2981"/>
                  <a:pt x="10687" y="2817"/>
                  <a:pt x="10654" y="2671"/>
                </a:cubicBezTo>
                <a:cubicBezTo>
                  <a:pt x="10999" y="2722"/>
                  <a:pt x="11865" y="2741"/>
                  <a:pt x="12083" y="2741"/>
                </a:cubicBezTo>
                <a:cubicBezTo>
                  <a:pt x="12357" y="2741"/>
                  <a:pt x="12642" y="2692"/>
                  <a:pt x="12971" y="2636"/>
                </a:cubicBezTo>
                <a:cubicBezTo>
                  <a:pt x="13001" y="2631"/>
                  <a:pt x="13032" y="2626"/>
                  <a:pt x="13062" y="2621"/>
                </a:cubicBezTo>
                <a:cubicBezTo>
                  <a:pt x="12917" y="2839"/>
                  <a:pt x="12917" y="2839"/>
                  <a:pt x="12917" y="2839"/>
                </a:cubicBezTo>
                <a:cubicBezTo>
                  <a:pt x="13141" y="2794"/>
                  <a:pt x="13141" y="2794"/>
                  <a:pt x="13141" y="2794"/>
                </a:cubicBezTo>
                <a:cubicBezTo>
                  <a:pt x="13351" y="2477"/>
                  <a:pt x="13351" y="2477"/>
                  <a:pt x="13351" y="2477"/>
                </a:cubicBezTo>
                <a:lnTo>
                  <a:pt x="13034" y="2267"/>
                </a:lnTo>
                <a:close/>
                <a:moveTo>
                  <a:pt x="10676" y="3203"/>
                </a:moveTo>
                <a:cubicBezTo>
                  <a:pt x="10747" y="3372"/>
                  <a:pt x="10819" y="3545"/>
                  <a:pt x="10849" y="3696"/>
                </a:cubicBezTo>
                <a:cubicBezTo>
                  <a:pt x="10607" y="3509"/>
                  <a:pt x="10428" y="3355"/>
                  <a:pt x="10292" y="3238"/>
                </a:cubicBezTo>
                <a:cubicBezTo>
                  <a:pt x="10037" y="3019"/>
                  <a:pt x="9901" y="2911"/>
                  <a:pt x="9759" y="2911"/>
                </a:cubicBezTo>
                <a:cubicBezTo>
                  <a:pt x="9621" y="2911"/>
                  <a:pt x="9478" y="3013"/>
                  <a:pt x="9215" y="3213"/>
                </a:cubicBezTo>
                <a:cubicBezTo>
                  <a:pt x="9075" y="3319"/>
                  <a:pt x="8891" y="3460"/>
                  <a:pt x="8646" y="3630"/>
                </a:cubicBezTo>
                <a:cubicBezTo>
                  <a:pt x="8665" y="3395"/>
                  <a:pt x="8897" y="3190"/>
                  <a:pt x="9058" y="3047"/>
                </a:cubicBezTo>
                <a:cubicBezTo>
                  <a:pt x="9088" y="3020"/>
                  <a:pt x="9116" y="2994"/>
                  <a:pt x="9140" y="2971"/>
                </a:cubicBezTo>
                <a:cubicBezTo>
                  <a:pt x="9323" y="2798"/>
                  <a:pt x="9833" y="2515"/>
                  <a:pt x="10487" y="2638"/>
                </a:cubicBezTo>
                <a:cubicBezTo>
                  <a:pt x="10515" y="2817"/>
                  <a:pt x="10596" y="3012"/>
                  <a:pt x="10676" y="3203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5F0581-C647-4EFE-A5E5-2F6D70935C74}"/>
              </a:ext>
            </a:extLst>
          </p:cNvPr>
          <p:cNvSpPr txBox="1"/>
          <p:nvPr/>
        </p:nvSpPr>
        <p:spPr>
          <a:xfrm>
            <a:off x="476747" y="1501973"/>
            <a:ext cx="4395178" cy="9233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/>
              <a:t>Tata Steel has been working for years to reduce its CO</a:t>
            </a:r>
            <a:r>
              <a:rPr lang="en-US" baseline="-25000"/>
              <a:t>2</a:t>
            </a:r>
            <a:r>
              <a:rPr lang="en-US"/>
              <a:t>e emissions. This makes the IJmuiden steelworks already one of the most CO</a:t>
            </a:r>
            <a:r>
              <a:rPr lang="en-US" baseline="-25000"/>
              <a:t>2</a:t>
            </a:r>
            <a:r>
              <a:rPr lang="en-US"/>
              <a:t>e efficient in the world today</a:t>
            </a:r>
            <a:r>
              <a:rPr lang="en-US" baseline="30000"/>
              <a:t>1</a:t>
            </a:r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A3DE52-0FA3-4B41-8DA2-51964B8D93BB}"/>
              </a:ext>
            </a:extLst>
          </p:cNvPr>
          <p:cNvSpPr txBox="1"/>
          <p:nvPr/>
        </p:nvSpPr>
        <p:spPr>
          <a:xfrm>
            <a:off x="557212" y="4304482"/>
            <a:ext cx="4603172" cy="1846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600"/>
              <a:t>1. Source: World Steel CO2 Association data report 2021, BF-BOF route. </a:t>
            </a:r>
          </a:p>
        </p:txBody>
      </p:sp>
    </p:spTree>
    <p:extLst>
      <p:ext uri="{BB962C8B-B14F-4D97-AF65-F5344CB8AC3E}">
        <p14:creationId xmlns:p14="http://schemas.microsoft.com/office/powerpoint/2010/main" val="2093173029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9B709DA-7250-4688-0F87-BC6A6863BB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Our ambitio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BFAEAED-1EC9-A538-5BA2-C9FBC650D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B15794-3E21-9267-5961-4E4707AF6B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B78862A6-3F38-CBA0-4C6D-0873DBA97AE3}"/>
              </a:ext>
            </a:extLst>
          </p:cNvPr>
          <p:cNvSpPr>
            <a:spLocks noChangeAspect="1"/>
          </p:cNvSpPr>
          <p:nvPr/>
        </p:nvSpPr>
        <p:spPr bwMode="auto">
          <a:xfrm>
            <a:off x="0" y="1241061"/>
            <a:ext cx="8586788" cy="2783253"/>
          </a:xfrm>
          <a:custGeom>
            <a:avLst/>
            <a:gdLst>
              <a:gd name="T0" fmla="*/ 16234 w 16610"/>
              <a:gd name="T1" fmla="*/ 4960 h 5385"/>
              <a:gd name="T2" fmla="*/ 13081 w 16610"/>
              <a:gd name="T3" fmla="*/ 4212 h 5385"/>
              <a:gd name="T4" fmla="*/ 14419 w 16610"/>
              <a:gd name="T5" fmla="*/ 3869 h 5385"/>
              <a:gd name="T6" fmla="*/ 14264 w 16610"/>
              <a:gd name="T7" fmla="*/ 2805 h 5385"/>
              <a:gd name="T8" fmla="*/ 13702 w 16610"/>
              <a:gd name="T9" fmla="*/ 1842 h 5385"/>
              <a:gd name="T10" fmla="*/ 12821 w 16610"/>
              <a:gd name="T11" fmla="*/ 383 h 5385"/>
              <a:gd name="T12" fmla="*/ 11520 w 16610"/>
              <a:gd name="T13" fmla="*/ 1500 h 5385"/>
              <a:gd name="T14" fmla="*/ 11937 w 16610"/>
              <a:gd name="T15" fmla="*/ 1842 h 5385"/>
              <a:gd name="T16" fmla="*/ 11217 w 16610"/>
              <a:gd name="T17" fmla="*/ 2933 h 5385"/>
              <a:gd name="T18" fmla="*/ 10790 w 16610"/>
              <a:gd name="T19" fmla="*/ 4072 h 5385"/>
              <a:gd name="T20" fmla="*/ 12224 w 16610"/>
              <a:gd name="T21" fmla="*/ 4796 h 5385"/>
              <a:gd name="T22" fmla="*/ 12061 w 16610"/>
              <a:gd name="T23" fmla="*/ 4958 h 5385"/>
              <a:gd name="T24" fmla="*/ 9534 w 16610"/>
              <a:gd name="T25" fmla="*/ 4849 h 5385"/>
              <a:gd name="T26" fmla="*/ 9708 w 16610"/>
              <a:gd name="T27" fmla="*/ 3845 h 5385"/>
              <a:gd name="T28" fmla="*/ 10501 w 16610"/>
              <a:gd name="T29" fmla="*/ 2471 h 5385"/>
              <a:gd name="T30" fmla="*/ 10564 w 16610"/>
              <a:gd name="T31" fmla="*/ 2393 h 5385"/>
              <a:gd name="T32" fmla="*/ 9980 w 16610"/>
              <a:gd name="T33" fmla="*/ 773 h 5385"/>
              <a:gd name="T34" fmla="*/ 8653 w 16610"/>
              <a:gd name="T35" fmla="*/ 225 h 5385"/>
              <a:gd name="T36" fmla="*/ 7634 w 16610"/>
              <a:gd name="T37" fmla="*/ 874 h 5385"/>
              <a:gd name="T38" fmla="*/ 7721 w 16610"/>
              <a:gd name="T39" fmla="*/ 2410 h 5385"/>
              <a:gd name="T40" fmla="*/ 8503 w 16610"/>
              <a:gd name="T41" fmla="*/ 3843 h 5385"/>
              <a:gd name="T42" fmla="*/ 8676 w 16610"/>
              <a:gd name="T43" fmla="*/ 4796 h 5385"/>
              <a:gd name="T44" fmla="*/ 8514 w 16610"/>
              <a:gd name="T45" fmla="*/ 4958 h 5385"/>
              <a:gd name="T46" fmla="*/ 0 w 16610"/>
              <a:gd name="T47" fmla="*/ 5151 h 5385"/>
              <a:gd name="T48" fmla="*/ 8514 w 16610"/>
              <a:gd name="T49" fmla="*/ 5155 h 5385"/>
              <a:gd name="T50" fmla="*/ 8873 w 16610"/>
              <a:gd name="T51" fmla="*/ 4005 h 5385"/>
              <a:gd name="T52" fmla="*/ 7849 w 16610"/>
              <a:gd name="T53" fmla="*/ 3336 h 5385"/>
              <a:gd name="T54" fmla="*/ 7798 w 16610"/>
              <a:gd name="T55" fmla="*/ 2215 h 5385"/>
              <a:gd name="T56" fmla="*/ 8201 w 16610"/>
              <a:gd name="T57" fmla="*/ 926 h 5385"/>
              <a:gd name="T58" fmla="*/ 9652 w 16610"/>
              <a:gd name="T59" fmla="*/ 587 h 5385"/>
              <a:gd name="T60" fmla="*/ 10659 w 16610"/>
              <a:gd name="T61" fmla="*/ 1277 h 5385"/>
              <a:gd name="T62" fmla="*/ 10416 w 16610"/>
              <a:gd name="T63" fmla="*/ 2253 h 5385"/>
              <a:gd name="T64" fmla="*/ 10378 w 16610"/>
              <a:gd name="T65" fmla="*/ 2649 h 5385"/>
              <a:gd name="T66" fmla="*/ 9449 w 16610"/>
              <a:gd name="T67" fmla="*/ 3745 h 5385"/>
              <a:gd name="T68" fmla="*/ 9696 w 16610"/>
              <a:gd name="T69" fmla="*/ 5155 h 5385"/>
              <a:gd name="T70" fmla="*/ 12062 w 16610"/>
              <a:gd name="T71" fmla="*/ 5155 h 5385"/>
              <a:gd name="T72" fmla="*/ 12420 w 16610"/>
              <a:gd name="T73" fmla="*/ 4114 h 5385"/>
              <a:gd name="T74" fmla="*/ 12103 w 16610"/>
              <a:gd name="T75" fmla="*/ 2888 h 5385"/>
              <a:gd name="T76" fmla="*/ 11294 w 16610"/>
              <a:gd name="T77" fmla="*/ 2736 h 5385"/>
              <a:gd name="T78" fmla="*/ 12100 w 16610"/>
              <a:gd name="T79" fmla="*/ 1646 h 5385"/>
              <a:gd name="T80" fmla="*/ 13640 w 16610"/>
              <a:gd name="T81" fmla="*/ 1646 h 5385"/>
              <a:gd name="T82" fmla="*/ 13116 w 16610"/>
              <a:gd name="T83" fmla="*/ 1787 h 5385"/>
              <a:gd name="T84" fmla="*/ 13198 w 16610"/>
              <a:gd name="T85" fmla="*/ 2787 h 5385"/>
              <a:gd name="T86" fmla="*/ 12983 w 16610"/>
              <a:gd name="T87" fmla="*/ 4016 h 5385"/>
              <a:gd name="T88" fmla="*/ 13243 w 16610"/>
              <a:gd name="T89" fmla="*/ 5155 h 5385"/>
              <a:gd name="T90" fmla="*/ 16283 w 16610"/>
              <a:gd name="T91" fmla="*/ 5385 h 53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6610" h="5385">
                <a:moveTo>
                  <a:pt x="16283" y="4731"/>
                </a:moveTo>
                <a:cubicBezTo>
                  <a:pt x="16006" y="4731"/>
                  <a:pt x="16006" y="4731"/>
                  <a:pt x="16006" y="4731"/>
                </a:cubicBezTo>
                <a:cubicBezTo>
                  <a:pt x="16234" y="4960"/>
                  <a:pt x="16234" y="4960"/>
                  <a:pt x="16234" y="4960"/>
                </a:cubicBezTo>
                <a:cubicBezTo>
                  <a:pt x="13243" y="4959"/>
                  <a:pt x="13243" y="4959"/>
                  <a:pt x="13243" y="4959"/>
                </a:cubicBezTo>
                <a:cubicBezTo>
                  <a:pt x="13154" y="4959"/>
                  <a:pt x="13081" y="4886"/>
                  <a:pt x="13081" y="4797"/>
                </a:cubicBezTo>
                <a:cubicBezTo>
                  <a:pt x="13081" y="4212"/>
                  <a:pt x="13081" y="4212"/>
                  <a:pt x="13081" y="4212"/>
                </a:cubicBezTo>
                <a:cubicBezTo>
                  <a:pt x="14338" y="4212"/>
                  <a:pt x="14338" y="4212"/>
                  <a:pt x="14338" y="4212"/>
                </a:cubicBezTo>
                <a:cubicBezTo>
                  <a:pt x="14423" y="4212"/>
                  <a:pt x="14496" y="4155"/>
                  <a:pt x="14514" y="4073"/>
                </a:cubicBezTo>
                <a:cubicBezTo>
                  <a:pt x="14534" y="3991"/>
                  <a:pt x="14495" y="3907"/>
                  <a:pt x="14419" y="3869"/>
                </a:cubicBezTo>
                <a:cubicBezTo>
                  <a:pt x="14027" y="3673"/>
                  <a:pt x="13669" y="3222"/>
                  <a:pt x="13468" y="2933"/>
                </a:cubicBezTo>
                <a:cubicBezTo>
                  <a:pt x="14088" y="2933"/>
                  <a:pt x="14088" y="2933"/>
                  <a:pt x="14088" y="2933"/>
                </a:cubicBezTo>
                <a:cubicBezTo>
                  <a:pt x="14169" y="2933"/>
                  <a:pt x="14241" y="2880"/>
                  <a:pt x="14264" y="2805"/>
                </a:cubicBezTo>
                <a:cubicBezTo>
                  <a:pt x="14292" y="2713"/>
                  <a:pt x="14243" y="2615"/>
                  <a:pt x="14153" y="2582"/>
                </a:cubicBezTo>
                <a:cubicBezTo>
                  <a:pt x="13767" y="2441"/>
                  <a:pt x="13506" y="2082"/>
                  <a:pt x="13368" y="1842"/>
                </a:cubicBezTo>
                <a:cubicBezTo>
                  <a:pt x="13702" y="1842"/>
                  <a:pt x="13702" y="1842"/>
                  <a:pt x="13702" y="1842"/>
                </a:cubicBezTo>
                <a:cubicBezTo>
                  <a:pt x="13785" y="1842"/>
                  <a:pt x="13858" y="1785"/>
                  <a:pt x="13878" y="1704"/>
                </a:cubicBezTo>
                <a:cubicBezTo>
                  <a:pt x="13897" y="1622"/>
                  <a:pt x="13859" y="1539"/>
                  <a:pt x="13785" y="1500"/>
                </a:cubicBezTo>
                <a:cubicBezTo>
                  <a:pt x="13139" y="1167"/>
                  <a:pt x="12834" y="413"/>
                  <a:pt x="12821" y="383"/>
                </a:cubicBezTo>
                <a:cubicBezTo>
                  <a:pt x="12796" y="315"/>
                  <a:pt x="12729" y="271"/>
                  <a:pt x="12652" y="271"/>
                </a:cubicBezTo>
                <a:cubicBezTo>
                  <a:pt x="12575" y="271"/>
                  <a:pt x="12509" y="315"/>
                  <a:pt x="12484" y="382"/>
                </a:cubicBezTo>
                <a:cubicBezTo>
                  <a:pt x="12471" y="413"/>
                  <a:pt x="12168" y="1166"/>
                  <a:pt x="11520" y="1500"/>
                </a:cubicBezTo>
                <a:cubicBezTo>
                  <a:pt x="11446" y="1539"/>
                  <a:pt x="11407" y="1622"/>
                  <a:pt x="11427" y="1704"/>
                </a:cubicBezTo>
                <a:cubicBezTo>
                  <a:pt x="11447" y="1785"/>
                  <a:pt x="11519" y="1842"/>
                  <a:pt x="11603" y="1842"/>
                </a:cubicBezTo>
                <a:cubicBezTo>
                  <a:pt x="11937" y="1842"/>
                  <a:pt x="11937" y="1842"/>
                  <a:pt x="11937" y="1842"/>
                </a:cubicBezTo>
                <a:cubicBezTo>
                  <a:pt x="11799" y="2082"/>
                  <a:pt x="11537" y="2441"/>
                  <a:pt x="11152" y="2582"/>
                </a:cubicBezTo>
                <a:cubicBezTo>
                  <a:pt x="11062" y="2615"/>
                  <a:pt x="11013" y="2713"/>
                  <a:pt x="11041" y="2805"/>
                </a:cubicBezTo>
                <a:cubicBezTo>
                  <a:pt x="11064" y="2880"/>
                  <a:pt x="11136" y="2933"/>
                  <a:pt x="11217" y="2933"/>
                </a:cubicBezTo>
                <a:cubicBezTo>
                  <a:pt x="11837" y="2933"/>
                  <a:pt x="11837" y="2933"/>
                  <a:pt x="11837" y="2933"/>
                </a:cubicBezTo>
                <a:cubicBezTo>
                  <a:pt x="11636" y="3222"/>
                  <a:pt x="11278" y="3673"/>
                  <a:pt x="10885" y="3869"/>
                </a:cubicBezTo>
                <a:cubicBezTo>
                  <a:pt x="10810" y="3907"/>
                  <a:pt x="10771" y="3991"/>
                  <a:pt x="10790" y="4072"/>
                </a:cubicBezTo>
                <a:cubicBezTo>
                  <a:pt x="10809" y="4155"/>
                  <a:pt x="10882" y="4212"/>
                  <a:pt x="10966" y="4212"/>
                </a:cubicBezTo>
                <a:cubicBezTo>
                  <a:pt x="12224" y="4212"/>
                  <a:pt x="12224" y="4212"/>
                  <a:pt x="12224" y="4212"/>
                </a:cubicBezTo>
                <a:cubicBezTo>
                  <a:pt x="12224" y="4796"/>
                  <a:pt x="12224" y="4796"/>
                  <a:pt x="12224" y="4796"/>
                </a:cubicBezTo>
                <a:cubicBezTo>
                  <a:pt x="12224" y="4840"/>
                  <a:pt x="12207" y="4880"/>
                  <a:pt x="12176" y="4911"/>
                </a:cubicBezTo>
                <a:cubicBezTo>
                  <a:pt x="12146" y="4942"/>
                  <a:pt x="12105" y="4958"/>
                  <a:pt x="12062" y="4958"/>
                </a:cubicBezTo>
                <a:cubicBezTo>
                  <a:pt x="12062" y="4958"/>
                  <a:pt x="12062" y="4958"/>
                  <a:pt x="12061" y="4958"/>
                </a:cubicBezTo>
                <a:cubicBezTo>
                  <a:pt x="11086" y="4958"/>
                  <a:pt x="10481" y="4958"/>
                  <a:pt x="10102" y="4959"/>
                </a:cubicBezTo>
                <a:cubicBezTo>
                  <a:pt x="9920" y="4959"/>
                  <a:pt x="9790" y="4959"/>
                  <a:pt x="9696" y="4959"/>
                </a:cubicBezTo>
                <a:cubicBezTo>
                  <a:pt x="9602" y="4959"/>
                  <a:pt x="9534" y="4881"/>
                  <a:pt x="9534" y="4849"/>
                </a:cubicBezTo>
                <a:cubicBezTo>
                  <a:pt x="9534" y="4004"/>
                  <a:pt x="9534" y="4004"/>
                  <a:pt x="9534" y="4004"/>
                </a:cubicBezTo>
                <a:cubicBezTo>
                  <a:pt x="9534" y="3960"/>
                  <a:pt x="9551" y="3919"/>
                  <a:pt x="9584" y="3889"/>
                </a:cubicBezTo>
                <a:cubicBezTo>
                  <a:pt x="9617" y="3857"/>
                  <a:pt x="9662" y="3842"/>
                  <a:pt x="9708" y="3845"/>
                </a:cubicBezTo>
                <a:cubicBezTo>
                  <a:pt x="9904" y="3857"/>
                  <a:pt x="10094" y="3806"/>
                  <a:pt x="10258" y="3697"/>
                </a:cubicBezTo>
                <a:cubicBezTo>
                  <a:pt x="10630" y="3448"/>
                  <a:pt x="10756" y="2959"/>
                  <a:pt x="10553" y="2560"/>
                </a:cubicBezTo>
                <a:cubicBezTo>
                  <a:pt x="10537" y="2529"/>
                  <a:pt x="10520" y="2499"/>
                  <a:pt x="10501" y="2471"/>
                </a:cubicBezTo>
                <a:cubicBezTo>
                  <a:pt x="10494" y="2461"/>
                  <a:pt x="10495" y="2450"/>
                  <a:pt x="10496" y="2445"/>
                </a:cubicBezTo>
                <a:cubicBezTo>
                  <a:pt x="10498" y="2440"/>
                  <a:pt x="10501" y="2431"/>
                  <a:pt x="10511" y="2425"/>
                </a:cubicBezTo>
                <a:cubicBezTo>
                  <a:pt x="10529" y="2415"/>
                  <a:pt x="10546" y="2405"/>
                  <a:pt x="10564" y="2393"/>
                </a:cubicBezTo>
                <a:cubicBezTo>
                  <a:pt x="10762" y="2265"/>
                  <a:pt x="10898" y="2067"/>
                  <a:pt x="10947" y="1836"/>
                </a:cubicBezTo>
                <a:cubicBezTo>
                  <a:pt x="10996" y="1605"/>
                  <a:pt x="10953" y="1368"/>
                  <a:pt x="10824" y="1170"/>
                </a:cubicBezTo>
                <a:cubicBezTo>
                  <a:pt x="10640" y="887"/>
                  <a:pt x="10317" y="734"/>
                  <a:pt x="9980" y="773"/>
                </a:cubicBezTo>
                <a:cubicBezTo>
                  <a:pt x="9965" y="775"/>
                  <a:pt x="9951" y="765"/>
                  <a:pt x="9947" y="751"/>
                </a:cubicBezTo>
                <a:cubicBezTo>
                  <a:pt x="9919" y="651"/>
                  <a:pt x="9873" y="557"/>
                  <a:pt x="9812" y="472"/>
                </a:cubicBezTo>
                <a:cubicBezTo>
                  <a:pt x="9549" y="109"/>
                  <a:pt x="9040" y="0"/>
                  <a:pt x="8653" y="225"/>
                </a:cubicBezTo>
                <a:cubicBezTo>
                  <a:pt x="8466" y="333"/>
                  <a:pt x="8326" y="505"/>
                  <a:pt x="8258" y="708"/>
                </a:cubicBezTo>
                <a:cubicBezTo>
                  <a:pt x="8253" y="723"/>
                  <a:pt x="8238" y="733"/>
                  <a:pt x="8223" y="731"/>
                </a:cubicBezTo>
                <a:cubicBezTo>
                  <a:pt x="8016" y="708"/>
                  <a:pt x="7807" y="758"/>
                  <a:pt x="7634" y="874"/>
                </a:cubicBezTo>
                <a:cubicBezTo>
                  <a:pt x="7238" y="1137"/>
                  <a:pt x="7122" y="1661"/>
                  <a:pt x="7368" y="2067"/>
                </a:cubicBezTo>
                <a:cubicBezTo>
                  <a:pt x="7450" y="2203"/>
                  <a:pt x="7566" y="2314"/>
                  <a:pt x="7705" y="2388"/>
                </a:cubicBezTo>
                <a:cubicBezTo>
                  <a:pt x="7716" y="2394"/>
                  <a:pt x="7720" y="2404"/>
                  <a:pt x="7721" y="2410"/>
                </a:cubicBezTo>
                <a:cubicBezTo>
                  <a:pt x="7723" y="2416"/>
                  <a:pt x="7723" y="2425"/>
                  <a:pt x="7716" y="2435"/>
                </a:cubicBezTo>
                <a:cubicBezTo>
                  <a:pt x="7497" y="2730"/>
                  <a:pt x="7484" y="3135"/>
                  <a:pt x="7684" y="3443"/>
                </a:cubicBezTo>
                <a:cubicBezTo>
                  <a:pt x="7863" y="3718"/>
                  <a:pt x="8177" y="3871"/>
                  <a:pt x="8503" y="3843"/>
                </a:cubicBezTo>
                <a:cubicBezTo>
                  <a:pt x="8548" y="3839"/>
                  <a:pt x="8590" y="3854"/>
                  <a:pt x="8623" y="3884"/>
                </a:cubicBezTo>
                <a:cubicBezTo>
                  <a:pt x="8657" y="3915"/>
                  <a:pt x="8676" y="3959"/>
                  <a:pt x="8676" y="4005"/>
                </a:cubicBezTo>
                <a:cubicBezTo>
                  <a:pt x="8676" y="4796"/>
                  <a:pt x="8676" y="4796"/>
                  <a:pt x="8676" y="4796"/>
                </a:cubicBezTo>
                <a:cubicBezTo>
                  <a:pt x="8676" y="4840"/>
                  <a:pt x="8660" y="4880"/>
                  <a:pt x="8629" y="4911"/>
                </a:cubicBezTo>
                <a:cubicBezTo>
                  <a:pt x="8598" y="4942"/>
                  <a:pt x="8558" y="4958"/>
                  <a:pt x="8514" y="4958"/>
                </a:cubicBezTo>
                <a:cubicBezTo>
                  <a:pt x="8514" y="4958"/>
                  <a:pt x="8514" y="4958"/>
                  <a:pt x="8514" y="4958"/>
                </a:cubicBezTo>
                <a:cubicBezTo>
                  <a:pt x="6999" y="4958"/>
                  <a:pt x="0" y="4955"/>
                  <a:pt x="0" y="4955"/>
                </a:cubicBezTo>
                <a:cubicBezTo>
                  <a:pt x="0" y="5151"/>
                  <a:pt x="0" y="5151"/>
                  <a:pt x="0" y="5151"/>
                </a:cubicBezTo>
                <a:cubicBezTo>
                  <a:pt x="0" y="5151"/>
                  <a:pt x="0" y="5151"/>
                  <a:pt x="0" y="5151"/>
                </a:cubicBezTo>
                <a:cubicBezTo>
                  <a:pt x="7" y="5152"/>
                  <a:pt x="167" y="5152"/>
                  <a:pt x="167" y="5152"/>
                </a:cubicBezTo>
                <a:cubicBezTo>
                  <a:pt x="8514" y="5155"/>
                  <a:pt x="8514" y="5155"/>
                  <a:pt x="8514" y="5155"/>
                </a:cubicBezTo>
                <a:cubicBezTo>
                  <a:pt x="8514" y="5155"/>
                  <a:pt x="8514" y="5155"/>
                  <a:pt x="8514" y="5155"/>
                </a:cubicBezTo>
                <a:cubicBezTo>
                  <a:pt x="8610" y="5155"/>
                  <a:pt x="8700" y="5118"/>
                  <a:pt x="8768" y="5050"/>
                </a:cubicBezTo>
                <a:cubicBezTo>
                  <a:pt x="8836" y="4982"/>
                  <a:pt x="8873" y="4892"/>
                  <a:pt x="8873" y="4796"/>
                </a:cubicBezTo>
                <a:cubicBezTo>
                  <a:pt x="8873" y="4005"/>
                  <a:pt x="8873" y="4005"/>
                  <a:pt x="8873" y="4005"/>
                </a:cubicBezTo>
                <a:cubicBezTo>
                  <a:pt x="8873" y="3904"/>
                  <a:pt x="8830" y="3807"/>
                  <a:pt x="8756" y="3739"/>
                </a:cubicBezTo>
                <a:cubicBezTo>
                  <a:pt x="8683" y="3672"/>
                  <a:pt x="8585" y="3639"/>
                  <a:pt x="8486" y="3647"/>
                </a:cubicBezTo>
                <a:cubicBezTo>
                  <a:pt x="8232" y="3669"/>
                  <a:pt x="7988" y="3550"/>
                  <a:pt x="7849" y="3336"/>
                </a:cubicBezTo>
                <a:cubicBezTo>
                  <a:pt x="7693" y="3097"/>
                  <a:pt x="7703" y="2781"/>
                  <a:pt x="7874" y="2552"/>
                </a:cubicBezTo>
                <a:cubicBezTo>
                  <a:pt x="7913" y="2499"/>
                  <a:pt x="7928" y="2431"/>
                  <a:pt x="7913" y="2367"/>
                </a:cubicBezTo>
                <a:cubicBezTo>
                  <a:pt x="7899" y="2302"/>
                  <a:pt x="7857" y="2247"/>
                  <a:pt x="7798" y="2215"/>
                </a:cubicBezTo>
                <a:cubicBezTo>
                  <a:pt x="7690" y="2157"/>
                  <a:pt x="7600" y="2071"/>
                  <a:pt x="7536" y="1966"/>
                </a:cubicBezTo>
                <a:cubicBezTo>
                  <a:pt x="7348" y="1655"/>
                  <a:pt x="7440" y="1239"/>
                  <a:pt x="7743" y="1037"/>
                </a:cubicBezTo>
                <a:cubicBezTo>
                  <a:pt x="7877" y="948"/>
                  <a:pt x="8040" y="908"/>
                  <a:pt x="8201" y="926"/>
                </a:cubicBezTo>
                <a:cubicBezTo>
                  <a:pt x="8309" y="938"/>
                  <a:pt x="8409" y="875"/>
                  <a:pt x="8444" y="771"/>
                </a:cubicBezTo>
                <a:cubicBezTo>
                  <a:pt x="8497" y="613"/>
                  <a:pt x="8606" y="479"/>
                  <a:pt x="8751" y="395"/>
                </a:cubicBezTo>
                <a:cubicBezTo>
                  <a:pt x="9053" y="220"/>
                  <a:pt x="9448" y="305"/>
                  <a:pt x="9652" y="587"/>
                </a:cubicBezTo>
                <a:cubicBezTo>
                  <a:pt x="9700" y="653"/>
                  <a:pt x="9736" y="726"/>
                  <a:pt x="9758" y="804"/>
                </a:cubicBezTo>
                <a:cubicBezTo>
                  <a:pt x="9788" y="912"/>
                  <a:pt x="9891" y="982"/>
                  <a:pt x="10003" y="969"/>
                </a:cubicBezTo>
                <a:cubicBezTo>
                  <a:pt x="10264" y="938"/>
                  <a:pt x="10516" y="1057"/>
                  <a:pt x="10659" y="1277"/>
                </a:cubicBezTo>
                <a:cubicBezTo>
                  <a:pt x="10759" y="1431"/>
                  <a:pt x="10793" y="1615"/>
                  <a:pt x="10755" y="1795"/>
                </a:cubicBezTo>
                <a:cubicBezTo>
                  <a:pt x="10717" y="1975"/>
                  <a:pt x="10611" y="2129"/>
                  <a:pt x="10457" y="2229"/>
                </a:cubicBezTo>
                <a:cubicBezTo>
                  <a:pt x="10443" y="2237"/>
                  <a:pt x="10429" y="2246"/>
                  <a:pt x="10416" y="2253"/>
                </a:cubicBezTo>
                <a:cubicBezTo>
                  <a:pt x="10361" y="2284"/>
                  <a:pt x="10320" y="2337"/>
                  <a:pt x="10305" y="2399"/>
                </a:cubicBezTo>
                <a:cubicBezTo>
                  <a:pt x="10290" y="2461"/>
                  <a:pt x="10302" y="2527"/>
                  <a:pt x="10337" y="2580"/>
                </a:cubicBezTo>
                <a:cubicBezTo>
                  <a:pt x="10352" y="2602"/>
                  <a:pt x="10366" y="2626"/>
                  <a:pt x="10378" y="2649"/>
                </a:cubicBezTo>
                <a:cubicBezTo>
                  <a:pt x="10536" y="2960"/>
                  <a:pt x="10437" y="3340"/>
                  <a:pt x="10148" y="3533"/>
                </a:cubicBezTo>
                <a:cubicBezTo>
                  <a:pt x="10021" y="3618"/>
                  <a:pt x="9874" y="3658"/>
                  <a:pt x="9721" y="3648"/>
                </a:cubicBezTo>
                <a:cubicBezTo>
                  <a:pt x="9621" y="3642"/>
                  <a:pt x="9522" y="3677"/>
                  <a:pt x="9449" y="3745"/>
                </a:cubicBezTo>
                <a:cubicBezTo>
                  <a:pt x="9377" y="3813"/>
                  <a:pt x="9337" y="3905"/>
                  <a:pt x="9337" y="4004"/>
                </a:cubicBezTo>
                <a:cubicBezTo>
                  <a:pt x="9337" y="4849"/>
                  <a:pt x="9337" y="4849"/>
                  <a:pt x="9337" y="4849"/>
                </a:cubicBezTo>
                <a:cubicBezTo>
                  <a:pt x="9337" y="5006"/>
                  <a:pt x="9511" y="5155"/>
                  <a:pt x="9696" y="5155"/>
                </a:cubicBezTo>
                <a:cubicBezTo>
                  <a:pt x="9790" y="5155"/>
                  <a:pt x="9920" y="5155"/>
                  <a:pt x="10102" y="5155"/>
                </a:cubicBezTo>
                <a:cubicBezTo>
                  <a:pt x="10481" y="5155"/>
                  <a:pt x="11085" y="5155"/>
                  <a:pt x="12061" y="5155"/>
                </a:cubicBezTo>
                <a:cubicBezTo>
                  <a:pt x="12061" y="5155"/>
                  <a:pt x="12062" y="5155"/>
                  <a:pt x="12062" y="5155"/>
                </a:cubicBezTo>
                <a:cubicBezTo>
                  <a:pt x="12157" y="5155"/>
                  <a:pt x="12247" y="5118"/>
                  <a:pt x="12315" y="5050"/>
                </a:cubicBezTo>
                <a:cubicBezTo>
                  <a:pt x="12383" y="4982"/>
                  <a:pt x="12420" y="4892"/>
                  <a:pt x="12420" y="4796"/>
                </a:cubicBezTo>
                <a:cubicBezTo>
                  <a:pt x="12420" y="4114"/>
                  <a:pt x="12420" y="4114"/>
                  <a:pt x="12420" y="4114"/>
                </a:cubicBezTo>
                <a:cubicBezTo>
                  <a:pt x="12420" y="4060"/>
                  <a:pt x="12376" y="4016"/>
                  <a:pt x="12322" y="4016"/>
                </a:cubicBezTo>
                <a:cubicBezTo>
                  <a:pt x="11029" y="4016"/>
                  <a:pt x="11029" y="4016"/>
                  <a:pt x="11029" y="4016"/>
                </a:cubicBezTo>
                <a:cubicBezTo>
                  <a:pt x="11520" y="3742"/>
                  <a:pt x="11941" y="3140"/>
                  <a:pt x="12103" y="2888"/>
                </a:cubicBezTo>
                <a:cubicBezTo>
                  <a:pt x="12123" y="2857"/>
                  <a:pt x="12124" y="2819"/>
                  <a:pt x="12107" y="2787"/>
                </a:cubicBezTo>
                <a:cubicBezTo>
                  <a:pt x="12090" y="2756"/>
                  <a:pt x="12057" y="2736"/>
                  <a:pt x="12021" y="2736"/>
                </a:cubicBezTo>
                <a:cubicBezTo>
                  <a:pt x="11294" y="2736"/>
                  <a:pt x="11294" y="2736"/>
                  <a:pt x="11294" y="2736"/>
                </a:cubicBezTo>
                <a:cubicBezTo>
                  <a:pt x="11789" y="2518"/>
                  <a:pt x="12082" y="2005"/>
                  <a:pt x="12189" y="1787"/>
                </a:cubicBezTo>
                <a:cubicBezTo>
                  <a:pt x="12203" y="1757"/>
                  <a:pt x="12201" y="1721"/>
                  <a:pt x="12183" y="1692"/>
                </a:cubicBezTo>
                <a:cubicBezTo>
                  <a:pt x="12166" y="1663"/>
                  <a:pt x="12134" y="1646"/>
                  <a:pt x="12100" y="1646"/>
                </a:cubicBezTo>
                <a:cubicBezTo>
                  <a:pt x="11664" y="1646"/>
                  <a:pt x="11664" y="1646"/>
                  <a:pt x="11664" y="1646"/>
                </a:cubicBezTo>
                <a:cubicBezTo>
                  <a:pt x="12268" y="1306"/>
                  <a:pt x="12582" y="649"/>
                  <a:pt x="12652" y="487"/>
                </a:cubicBezTo>
                <a:cubicBezTo>
                  <a:pt x="12725" y="657"/>
                  <a:pt x="13033" y="1305"/>
                  <a:pt x="13640" y="1646"/>
                </a:cubicBezTo>
                <a:cubicBezTo>
                  <a:pt x="13204" y="1646"/>
                  <a:pt x="13204" y="1646"/>
                  <a:pt x="13204" y="1646"/>
                </a:cubicBezTo>
                <a:cubicBezTo>
                  <a:pt x="13171" y="1646"/>
                  <a:pt x="13139" y="1663"/>
                  <a:pt x="13121" y="1692"/>
                </a:cubicBezTo>
                <a:cubicBezTo>
                  <a:pt x="13103" y="1721"/>
                  <a:pt x="13101" y="1757"/>
                  <a:pt x="13116" y="1787"/>
                </a:cubicBezTo>
                <a:cubicBezTo>
                  <a:pt x="13222" y="2005"/>
                  <a:pt x="13516" y="2518"/>
                  <a:pt x="14011" y="2736"/>
                </a:cubicBezTo>
                <a:cubicBezTo>
                  <a:pt x="13284" y="2736"/>
                  <a:pt x="13284" y="2736"/>
                  <a:pt x="13284" y="2736"/>
                </a:cubicBezTo>
                <a:cubicBezTo>
                  <a:pt x="13248" y="2736"/>
                  <a:pt x="13215" y="2756"/>
                  <a:pt x="13198" y="2787"/>
                </a:cubicBezTo>
                <a:cubicBezTo>
                  <a:pt x="13180" y="2819"/>
                  <a:pt x="13182" y="2857"/>
                  <a:pt x="13201" y="2888"/>
                </a:cubicBezTo>
                <a:cubicBezTo>
                  <a:pt x="13364" y="3141"/>
                  <a:pt x="13785" y="3742"/>
                  <a:pt x="14276" y="4016"/>
                </a:cubicBezTo>
                <a:cubicBezTo>
                  <a:pt x="12983" y="4016"/>
                  <a:pt x="12983" y="4016"/>
                  <a:pt x="12983" y="4016"/>
                </a:cubicBezTo>
                <a:cubicBezTo>
                  <a:pt x="12928" y="4016"/>
                  <a:pt x="12884" y="4060"/>
                  <a:pt x="12884" y="4114"/>
                </a:cubicBezTo>
                <a:cubicBezTo>
                  <a:pt x="12884" y="4797"/>
                  <a:pt x="12884" y="4797"/>
                  <a:pt x="12884" y="4797"/>
                </a:cubicBezTo>
                <a:cubicBezTo>
                  <a:pt x="12884" y="4994"/>
                  <a:pt x="13045" y="5155"/>
                  <a:pt x="13243" y="5155"/>
                </a:cubicBezTo>
                <a:cubicBezTo>
                  <a:pt x="16234" y="5157"/>
                  <a:pt x="16234" y="5157"/>
                  <a:pt x="16234" y="5157"/>
                </a:cubicBezTo>
                <a:cubicBezTo>
                  <a:pt x="16006" y="5385"/>
                  <a:pt x="16006" y="5385"/>
                  <a:pt x="16006" y="5385"/>
                </a:cubicBezTo>
                <a:cubicBezTo>
                  <a:pt x="16283" y="5385"/>
                  <a:pt x="16283" y="5385"/>
                  <a:pt x="16283" y="5385"/>
                </a:cubicBezTo>
                <a:cubicBezTo>
                  <a:pt x="16610" y="5058"/>
                  <a:pt x="16610" y="5058"/>
                  <a:pt x="16610" y="5058"/>
                </a:cubicBezTo>
                <a:lnTo>
                  <a:pt x="16283" y="473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7304802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7DC35B6-26D5-B6AD-209F-5FF7E565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Tata Steel  |  Zeremis Presentation  |  October 2023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A82A30-D6A7-5C5C-A2C1-321217133F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4A74C5-79B0-4340-9A8D-1CCBE3E8C644}" type="slidenum">
              <a:rPr lang="en-GB" smtClean="0"/>
              <a:t>8</a:t>
            </a:fld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54570D-A8CC-2D06-2552-82C0315E1B7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7213" y="3204000"/>
            <a:ext cx="3940175" cy="1429913"/>
          </a:xfrm>
        </p:spPr>
        <p:txBody>
          <a:bodyPr/>
          <a:lstStyle/>
          <a:p>
            <a:pPr lvl="4"/>
            <a:r>
              <a:rPr lang="en-GB"/>
              <a:t>Tata Steel Nederland has the ambition to become CO</a:t>
            </a:r>
            <a:r>
              <a:rPr lang="en-GB" baseline="-25000"/>
              <a:t>2</a:t>
            </a:r>
            <a:r>
              <a:rPr lang="en-GB"/>
              <a:t>e neutral by 2045 and reduce </a:t>
            </a:r>
          </a:p>
          <a:p>
            <a:pPr lvl="4"/>
            <a:r>
              <a:rPr lang="en-GB"/>
              <a:t>its CO</a:t>
            </a:r>
            <a:r>
              <a:rPr lang="en-GB" baseline="-25000"/>
              <a:t>2</a:t>
            </a:r>
            <a:r>
              <a:rPr lang="en-GB"/>
              <a:t>e emissions by 35% to 40% by 2030</a:t>
            </a:r>
            <a:endParaRPr lang="en-GB">
              <a:cs typeface="Arial"/>
            </a:endParaRP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DFC66215-5D1E-9D56-1570-5C8178DF79C9}"/>
              </a:ext>
            </a:extLst>
          </p:cNvPr>
          <p:cNvSpPr>
            <a:spLocks noEditPoints="1"/>
          </p:cNvSpPr>
          <p:nvPr/>
        </p:nvSpPr>
        <p:spPr bwMode="auto">
          <a:xfrm>
            <a:off x="0" y="845457"/>
            <a:ext cx="8586787" cy="2731075"/>
          </a:xfrm>
          <a:custGeom>
            <a:avLst/>
            <a:gdLst>
              <a:gd name="T0" fmla="*/ 15398 w 15720"/>
              <a:gd name="T1" fmla="*/ 4355 h 4999"/>
              <a:gd name="T2" fmla="*/ 15124 w 15720"/>
              <a:gd name="T3" fmla="*/ 4355 h 4999"/>
              <a:gd name="T4" fmla="*/ 15351 w 15720"/>
              <a:gd name="T5" fmla="*/ 4582 h 4999"/>
              <a:gd name="T6" fmla="*/ 13052 w 15720"/>
              <a:gd name="T7" fmla="*/ 4582 h 4999"/>
              <a:gd name="T8" fmla="*/ 13693 w 15720"/>
              <a:gd name="T9" fmla="*/ 4017 h 4999"/>
              <a:gd name="T10" fmla="*/ 13697 w 15720"/>
              <a:gd name="T11" fmla="*/ 4013 h 4999"/>
              <a:gd name="T12" fmla="*/ 13908 w 15720"/>
              <a:gd name="T13" fmla="*/ 3507 h 4999"/>
              <a:gd name="T14" fmla="*/ 13697 w 15720"/>
              <a:gd name="T15" fmla="*/ 3000 h 4999"/>
              <a:gd name="T16" fmla="*/ 13142 w 15720"/>
              <a:gd name="T17" fmla="*/ 2815 h 4999"/>
              <a:gd name="T18" fmla="*/ 12609 w 15720"/>
              <a:gd name="T19" fmla="*/ 3068 h 4999"/>
              <a:gd name="T20" fmla="*/ 11509 w 15720"/>
              <a:gd name="T21" fmla="*/ 3068 h 4999"/>
              <a:gd name="T22" fmla="*/ 12408 w 15720"/>
              <a:gd name="T23" fmla="*/ 1619 h 4999"/>
              <a:gd name="T24" fmla="*/ 10789 w 15720"/>
              <a:gd name="T25" fmla="*/ 0 h 4999"/>
              <a:gd name="T26" fmla="*/ 9171 w 15720"/>
              <a:gd name="T27" fmla="*/ 1619 h 4999"/>
              <a:gd name="T28" fmla="*/ 10069 w 15720"/>
              <a:gd name="T29" fmla="*/ 3068 h 4999"/>
              <a:gd name="T30" fmla="*/ 8874 w 15720"/>
              <a:gd name="T31" fmla="*/ 3068 h 4999"/>
              <a:gd name="T32" fmla="*/ 9214 w 15720"/>
              <a:gd name="T33" fmla="*/ 2829 h 4999"/>
              <a:gd name="T34" fmla="*/ 9220 w 15720"/>
              <a:gd name="T35" fmla="*/ 2695 h 4999"/>
              <a:gd name="T36" fmla="*/ 9086 w 15720"/>
              <a:gd name="T37" fmla="*/ 2689 h 4999"/>
              <a:gd name="T38" fmla="*/ 8105 w 15720"/>
              <a:gd name="T39" fmla="*/ 3068 h 4999"/>
              <a:gd name="T40" fmla="*/ 6656 w 15720"/>
              <a:gd name="T41" fmla="*/ 1629 h 4999"/>
              <a:gd name="T42" fmla="*/ 8105 w 15720"/>
              <a:gd name="T43" fmla="*/ 190 h 4999"/>
              <a:gd name="T44" fmla="*/ 8888 w 15720"/>
              <a:gd name="T45" fmla="*/ 418 h 4999"/>
              <a:gd name="T46" fmla="*/ 9019 w 15720"/>
              <a:gd name="T47" fmla="*/ 389 h 4999"/>
              <a:gd name="T48" fmla="*/ 8990 w 15720"/>
              <a:gd name="T49" fmla="*/ 258 h 4999"/>
              <a:gd name="T50" fmla="*/ 8105 w 15720"/>
              <a:gd name="T51" fmla="*/ 0 h 4999"/>
              <a:gd name="T52" fmla="*/ 6466 w 15720"/>
              <a:gd name="T53" fmla="*/ 1629 h 4999"/>
              <a:gd name="T54" fmla="*/ 7337 w 15720"/>
              <a:gd name="T55" fmla="*/ 3068 h 4999"/>
              <a:gd name="T56" fmla="*/ 0 w 15720"/>
              <a:gd name="T57" fmla="*/ 3068 h 4999"/>
              <a:gd name="T58" fmla="*/ 0 w 15720"/>
              <a:gd name="T59" fmla="*/ 3259 h 4999"/>
              <a:gd name="T60" fmla="*/ 12655 w 15720"/>
              <a:gd name="T61" fmla="*/ 3259 h 4999"/>
              <a:gd name="T62" fmla="*/ 12731 w 15720"/>
              <a:gd name="T63" fmla="*/ 3221 h 4999"/>
              <a:gd name="T64" fmla="*/ 13156 w 15720"/>
              <a:gd name="T65" fmla="*/ 3005 h 4999"/>
              <a:gd name="T66" fmla="*/ 13563 w 15720"/>
              <a:gd name="T67" fmla="*/ 3135 h 4999"/>
              <a:gd name="T68" fmla="*/ 13718 w 15720"/>
              <a:gd name="T69" fmla="*/ 3507 h 4999"/>
              <a:gd name="T70" fmla="*/ 13565 w 15720"/>
              <a:gd name="T71" fmla="*/ 3876 h 4999"/>
              <a:gd name="T72" fmla="*/ 12742 w 15720"/>
              <a:gd name="T73" fmla="*/ 4602 h 4999"/>
              <a:gd name="T74" fmla="*/ 12718 w 15720"/>
              <a:gd name="T75" fmla="*/ 4636 h 4999"/>
              <a:gd name="T76" fmla="*/ 12708 w 15720"/>
              <a:gd name="T77" fmla="*/ 4677 h 4999"/>
              <a:gd name="T78" fmla="*/ 12803 w 15720"/>
              <a:gd name="T79" fmla="*/ 4772 h 4999"/>
              <a:gd name="T80" fmla="*/ 15351 w 15720"/>
              <a:gd name="T81" fmla="*/ 4772 h 4999"/>
              <a:gd name="T82" fmla="*/ 15124 w 15720"/>
              <a:gd name="T83" fmla="*/ 4999 h 4999"/>
              <a:gd name="T84" fmla="*/ 15398 w 15720"/>
              <a:gd name="T85" fmla="*/ 4999 h 4999"/>
              <a:gd name="T86" fmla="*/ 15720 w 15720"/>
              <a:gd name="T87" fmla="*/ 4677 h 4999"/>
              <a:gd name="T88" fmla="*/ 15398 w 15720"/>
              <a:gd name="T89" fmla="*/ 4355 h 4999"/>
              <a:gd name="T90" fmla="*/ 9361 w 15720"/>
              <a:gd name="T91" fmla="*/ 1619 h 4999"/>
              <a:gd name="T92" fmla="*/ 10789 w 15720"/>
              <a:gd name="T93" fmla="*/ 190 h 4999"/>
              <a:gd name="T94" fmla="*/ 12218 w 15720"/>
              <a:gd name="T95" fmla="*/ 1619 h 4999"/>
              <a:gd name="T96" fmla="*/ 10789 w 15720"/>
              <a:gd name="T97" fmla="*/ 3048 h 4999"/>
              <a:gd name="T98" fmla="*/ 9361 w 15720"/>
              <a:gd name="T99" fmla="*/ 1619 h 49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5720" h="4999">
                <a:moveTo>
                  <a:pt x="15398" y="4355"/>
                </a:moveTo>
                <a:cubicBezTo>
                  <a:pt x="15124" y="4355"/>
                  <a:pt x="15124" y="4355"/>
                  <a:pt x="15124" y="4355"/>
                </a:cubicBezTo>
                <a:cubicBezTo>
                  <a:pt x="15351" y="4582"/>
                  <a:pt x="15351" y="4582"/>
                  <a:pt x="15351" y="4582"/>
                </a:cubicBezTo>
                <a:cubicBezTo>
                  <a:pt x="13052" y="4582"/>
                  <a:pt x="13052" y="4582"/>
                  <a:pt x="13052" y="4582"/>
                </a:cubicBezTo>
                <a:cubicBezTo>
                  <a:pt x="13693" y="4017"/>
                  <a:pt x="13693" y="4017"/>
                  <a:pt x="13693" y="4017"/>
                </a:cubicBezTo>
                <a:cubicBezTo>
                  <a:pt x="13694" y="4016"/>
                  <a:pt x="13696" y="4014"/>
                  <a:pt x="13697" y="4013"/>
                </a:cubicBezTo>
                <a:cubicBezTo>
                  <a:pt x="13833" y="3878"/>
                  <a:pt x="13908" y="3698"/>
                  <a:pt x="13908" y="3507"/>
                </a:cubicBezTo>
                <a:cubicBezTo>
                  <a:pt x="13908" y="3315"/>
                  <a:pt x="13833" y="3135"/>
                  <a:pt x="13697" y="3000"/>
                </a:cubicBezTo>
                <a:cubicBezTo>
                  <a:pt x="13563" y="2867"/>
                  <a:pt x="13361" y="2799"/>
                  <a:pt x="13142" y="2815"/>
                </a:cubicBezTo>
                <a:cubicBezTo>
                  <a:pt x="12929" y="2830"/>
                  <a:pt x="12737" y="2922"/>
                  <a:pt x="12609" y="3068"/>
                </a:cubicBezTo>
                <a:cubicBezTo>
                  <a:pt x="11509" y="3068"/>
                  <a:pt x="11509" y="3068"/>
                  <a:pt x="11509" y="3068"/>
                </a:cubicBezTo>
                <a:cubicBezTo>
                  <a:pt x="12042" y="2803"/>
                  <a:pt x="12408" y="2253"/>
                  <a:pt x="12408" y="1619"/>
                </a:cubicBezTo>
                <a:cubicBezTo>
                  <a:pt x="12408" y="726"/>
                  <a:pt x="11682" y="0"/>
                  <a:pt x="10789" y="0"/>
                </a:cubicBezTo>
                <a:cubicBezTo>
                  <a:pt x="9897" y="0"/>
                  <a:pt x="9171" y="726"/>
                  <a:pt x="9171" y="1619"/>
                </a:cubicBezTo>
                <a:cubicBezTo>
                  <a:pt x="9171" y="2253"/>
                  <a:pt x="9537" y="2803"/>
                  <a:pt x="10069" y="3068"/>
                </a:cubicBezTo>
                <a:cubicBezTo>
                  <a:pt x="8874" y="3068"/>
                  <a:pt x="8874" y="3068"/>
                  <a:pt x="8874" y="3068"/>
                </a:cubicBezTo>
                <a:cubicBezTo>
                  <a:pt x="8996" y="3004"/>
                  <a:pt x="9111" y="2924"/>
                  <a:pt x="9214" y="2829"/>
                </a:cubicBezTo>
                <a:cubicBezTo>
                  <a:pt x="9253" y="2794"/>
                  <a:pt x="9256" y="2733"/>
                  <a:pt x="9220" y="2695"/>
                </a:cubicBezTo>
                <a:cubicBezTo>
                  <a:pt x="9185" y="2656"/>
                  <a:pt x="9125" y="2653"/>
                  <a:pt x="9086" y="2689"/>
                </a:cubicBezTo>
                <a:cubicBezTo>
                  <a:pt x="8818" y="2933"/>
                  <a:pt x="8470" y="3068"/>
                  <a:pt x="8105" y="3068"/>
                </a:cubicBezTo>
                <a:cubicBezTo>
                  <a:pt x="7306" y="3068"/>
                  <a:pt x="6656" y="2423"/>
                  <a:pt x="6656" y="1629"/>
                </a:cubicBezTo>
                <a:cubicBezTo>
                  <a:pt x="6656" y="836"/>
                  <a:pt x="7306" y="190"/>
                  <a:pt x="8105" y="190"/>
                </a:cubicBezTo>
                <a:cubicBezTo>
                  <a:pt x="8384" y="190"/>
                  <a:pt x="8655" y="269"/>
                  <a:pt x="8888" y="418"/>
                </a:cubicBezTo>
                <a:cubicBezTo>
                  <a:pt x="8932" y="446"/>
                  <a:pt x="8991" y="433"/>
                  <a:pt x="9019" y="389"/>
                </a:cubicBezTo>
                <a:cubicBezTo>
                  <a:pt x="9048" y="345"/>
                  <a:pt x="9035" y="286"/>
                  <a:pt x="8990" y="258"/>
                </a:cubicBezTo>
                <a:cubicBezTo>
                  <a:pt x="8726" y="89"/>
                  <a:pt x="8420" y="0"/>
                  <a:pt x="8105" y="0"/>
                </a:cubicBezTo>
                <a:cubicBezTo>
                  <a:pt x="7201" y="0"/>
                  <a:pt x="6466" y="731"/>
                  <a:pt x="6466" y="1629"/>
                </a:cubicBezTo>
                <a:cubicBezTo>
                  <a:pt x="6466" y="2252"/>
                  <a:pt x="6819" y="2794"/>
                  <a:pt x="7337" y="3068"/>
                </a:cubicBezTo>
                <a:cubicBezTo>
                  <a:pt x="0" y="3068"/>
                  <a:pt x="0" y="3068"/>
                  <a:pt x="0" y="3068"/>
                </a:cubicBezTo>
                <a:cubicBezTo>
                  <a:pt x="0" y="3259"/>
                  <a:pt x="0" y="3259"/>
                  <a:pt x="0" y="3259"/>
                </a:cubicBezTo>
                <a:cubicBezTo>
                  <a:pt x="12655" y="3259"/>
                  <a:pt x="12655" y="3259"/>
                  <a:pt x="12655" y="3259"/>
                </a:cubicBezTo>
                <a:cubicBezTo>
                  <a:pt x="12685" y="3259"/>
                  <a:pt x="12713" y="3244"/>
                  <a:pt x="12731" y="3221"/>
                </a:cubicBezTo>
                <a:cubicBezTo>
                  <a:pt x="12823" y="3098"/>
                  <a:pt x="12982" y="3017"/>
                  <a:pt x="13156" y="3005"/>
                </a:cubicBezTo>
                <a:cubicBezTo>
                  <a:pt x="13317" y="2993"/>
                  <a:pt x="13469" y="3042"/>
                  <a:pt x="13563" y="3135"/>
                </a:cubicBezTo>
                <a:cubicBezTo>
                  <a:pt x="13663" y="3234"/>
                  <a:pt x="13718" y="3366"/>
                  <a:pt x="13718" y="3507"/>
                </a:cubicBezTo>
                <a:cubicBezTo>
                  <a:pt x="13718" y="3646"/>
                  <a:pt x="13664" y="3777"/>
                  <a:pt x="13565" y="3876"/>
                </a:cubicBezTo>
                <a:cubicBezTo>
                  <a:pt x="12742" y="4602"/>
                  <a:pt x="12742" y="4602"/>
                  <a:pt x="12742" y="4602"/>
                </a:cubicBezTo>
                <a:cubicBezTo>
                  <a:pt x="12731" y="4611"/>
                  <a:pt x="12723" y="4623"/>
                  <a:pt x="12718" y="4636"/>
                </a:cubicBezTo>
                <a:cubicBezTo>
                  <a:pt x="12712" y="4649"/>
                  <a:pt x="12708" y="4662"/>
                  <a:pt x="12708" y="4677"/>
                </a:cubicBezTo>
                <a:cubicBezTo>
                  <a:pt x="12708" y="4730"/>
                  <a:pt x="12751" y="4772"/>
                  <a:pt x="12803" y="4772"/>
                </a:cubicBezTo>
                <a:cubicBezTo>
                  <a:pt x="15351" y="4772"/>
                  <a:pt x="15351" y="4772"/>
                  <a:pt x="15351" y="4772"/>
                </a:cubicBezTo>
                <a:cubicBezTo>
                  <a:pt x="15124" y="4999"/>
                  <a:pt x="15124" y="4999"/>
                  <a:pt x="15124" y="4999"/>
                </a:cubicBezTo>
                <a:cubicBezTo>
                  <a:pt x="15398" y="4999"/>
                  <a:pt x="15398" y="4999"/>
                  <a:pt x="15398" y="4999"/>
                </a:cubicBezTo>
                <a:cubicBezTo>
                  <a:pt x="15720" y="4677"/>
                  <a:pt x="15720" y="4677"/>
                  <a:pt x="15720" y="4677"/>
                </a:cubicBezTo>
                <a:lnTo>
                  <a:pt x="15398" y="4355"/>
                </a:lnTo>
                <a:close/>
                <a:moveTo>
                  <a:pt x="9361" y="1619"/>
                </a:moveTo>
                <a:cubicBezTo>
                  <a:pt x="9361" y="831"/>
                  <a:pt x="10002" y="190"/>
                  <a:pt x="10789" y="190"/>
                </a:cubicBezTo>
                <a:cubicBezTo>
                  <a:pt x="11577" y="190"/>
                  <a:pt x="12218" y="831"/>
                  <a:pt x="12218" y="1619"/>
                </a:cubicBezTo>
                <a:cubicBezTo>
                  <a:pt x="12218" y="2407"/>
                  <a:pt x="11577" y="3048"/>
                  <a:pt x="10789" y="3048"/>
                </a:cubicBezTo>
                <a:cubicBezTo>
                  <a:pt x="10002" y="3048"/>
                  <a:pt x="9361" y="2407"/>
                  <a:pt x="9361" y="161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72969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B8E2130-1E09-E02C-9A5D-C835EA2F1C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Driving</a:t>
            </a:r>
            <a:br>
              <a:rPr lang="en-GB"/>
            </a:br>
            <a:r>
              <a:rPr lang="en-GB"/>
              <a:t>transforma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EFAE97-119E-8FCD-FE9A-09DA4AFDF3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all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a Steel  |  Zeremis Presentation  |  October 2023</a:t>
            </a:r>
            <a:endParaRPr kumimoji="0" lang="en-GB" sz="800" b="1" i="0" u="none" strike="noStrike" kern="1200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A0CA3FA-C1C0-D745-D27F-775F37C5C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4A74C5-79B0-4340-9A8D-1CCBE3E8C644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" name="Group 4">
            <a:extLst>
              <a:ext uri="{FF2B5EF4-FFF2-40B4-BE49-F238E27FC236}">
                <a16:creationId xmlns:a16="http://schemas.microsoft.com/office/drawing/2014/main" id="{C07111BE-C2DA-5FE3-DE0E-BA712C36655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0" y="1031479"/>
            <a:ext cx="8586787" cy="3410862"/>
            <a:chOff x="0" y="474"/>
            <a:chExt cx="5760" cy="2288"/>
          </a:xfrm>
          <a:solidFill>
            <a:schemeClr val="accent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E2B178E5-598F-D8F5-82EB-DF10AF718EA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474"/>
              <a:ext cx="5760" cy="2288"/>
            </a:xfrm>
            <a:custGeom>
              <a:avLst/>
              <a:gdLst>
                <a:gd name="T0" fmla="*/ 15424 w 17884"/>
                <a:gd name="T1" fmla="*/ 914 h 7103"/>
                <a:gd name="T2" fmla="*/ 14295 w 17884"/>
                <a:gd name="T3" fmla="*/ 856 h 7103"/>
                <a:gd name="T4" fmla="*/ 13510 w 17884"/>
                <a:gd name="T5" fmla="*/ 32 h 7103"/>
                <a:gd name="T6" fmla="*/ 12438 w 17884"/>
                <a:gd name="T7" fmla="*/ 891 h 7103"/>
                <a:gd name="T8" fmla="*/ 11463 w 17884"/>
                <a:gd name="T9" fmla="*/ 1022 h 7103"/>
                <a:gd name="T10" fmla="*/ 11387 w 17884"/>
                <a:gd name="T11" fmla="*/ 2113 h 7103"/>
                <a:gd name="T12" fmla="*/ 10669 w 17884"/>
                <a:gd name="T13" fmla="*/ 2947 h 7103"/>
                <a:gd name="T14" fmla="*/ 11542 w 17884"/>
                <a:gd name="T15" fmla="*/ 3714 h 7103"/>
                <a:gd name="T16" fmla="*/ 10175 w 17884"/>
                <a:gd name="T17" fmla="*/ 4101 h 7103"/>
                <a:gd name="T18" fmla="*/ 9801 w 17884"/>
                <a:gd name="T19" fmla="*/ 3930 h 7103"/>
                <a:gd name="T20" fmla="*/ 9096 w 17884"/>
                <a:gd name="T21" fmla="*/ 3820 h 7103"/>
                <a:gd name="T22" fmla="*/ 8249 w 17884"/>
                <a:gd name="T23" fmla="*/ 3908 h 7103"/>
                <a:gd name="T24" fmla="*/ 7908 w 17884"/>
                <a:gd name="T25" fmla="*/ 4768 h 7103"/>
                <a:gd name="T26" fmla="*/ 7775 w 17884"/>
                <a:gd name="T27" fmla="*/ 5548 h 7103"/>
                <a:gd name="T28" fmla="*/ 3541 w 17884"/>
                <a:gd name="T29" fmla="*/ 5838 h 7103"/>
                <a:gd name="T30" fmla="*/ 7819 w 17884"/>
                <a:gd name="T31" fmla="*/ 6256 h 7103"/>
                <a:gd name="T32" fmla="*/ 8595 w 17884"/>
                <a:gd name="T33" fmla="*/ 6492 h 7103"/>
                <a:gd name="T34" fmla="*/ 9349 w 17884"/>
                <a:gd name="T35" fmla="*/ 7103 h 7103"/>
                <a:gd name="T36" fmla="*/ 9922 w 17884"/>
                <a:gd name="T37" fmla="*/ 6580 h 7103"/>
                <a:gd name="T38" fmla="*/ 10694 w 17884"/>
                <a:gd name="T39" fmla="*/ 6370 h 7103"/>
                <a:gd name="T40" fmla="*/ 10612 w 17884"/>
                <a:gd name="T41" fmla="*/ 5860 h 7103"/>
                <a:gd name="T42" fmla="*/ 11127 w 17884"/>
                <a:gd name="T43" fmla="*/ 5278 h 7103"/>
                <a:gd name="T44" fmla="*/ 10696 w 17884"/>
                <a:gd name="T45" fmla="*/ 4764 h 7103"/>
                <a:gd name="T46" fmla="*/ 11301 w 17884"/>
                <a:gd name="T47" fmla="*/ 4082 h 7103"/>
                <a:gd name="T48" fmla="*/ 12609 w 17884"/>
                <a:gd name="T49" fmla="*/ 4603 h 7103"/>
                <a:gd name="T50" fmla="*/ 13217 w 17884"/>
                <a:gd name="T51" fmla="*/ 5399 h 7103"/>
                <a:gd name="T52" fmla="*/ 13955 w 17884"/>
                <a:gd name="T53" fmla="*/ 4932 h 7103"/>
                <a:gd name="T54" fmla="*/ 14624 w 17884"/>
                <a:gd name="T55" fmla="*/ 4684 h 7103"/>
                <a:gd name="T56" fmla="*/ 15543 w 17884"/>
                <a:gd name="T57" fmla="*/ 4162 h 7103"/>
                <a:gd name="T58" fmla="*/ 15552 w 17884"/>
                <a:gd name="T59" fmla="*/ 3462 h 7103"/>
                <a:gd name="T60" fmla="*/ 16222 w 17884"/>
                <a:gd name="T61" fmla="*/ 2726 h 7103"/>
                <a:gd name="T62" fmla="*/ 15771 w 17884"/>
                <a:gd name="T63" fmla="*/ 1462 h 7103"/>
                <a:gd name="T64" fmla="*/ 10673 w 17884"/>
                <a:gd name="T65" fmla="*/ 4524 h 7103"/>
                <a:gd name="T66" fmla="*/ 10886 w 17884"/>
                <a:gd name="T67" fmla="*/ 5369 h 7103"/>
                <a:gd name="T68" fmla="*/ 10704 w 17884"/>
                <a:gd name="T69" fmla="*/ 5645 h 7103"/>
                <a:gd name="T70" fmla="*/ 10447 w 17884"/>
                <a:gd name="T71" fmla="*/ 6328 h 7103"/>
                <a:gd name="T72" fmla="*/ 10179 w 17884"/>
                <a:gd name="T73" fmla="*/ 6618 h 7103"/>
                <a:gd name="T74" fmla="*/ 9356 w 17884"/>
                <a:gd name="T75" fmla="*/ 6875 h 7103"/>
                <a:gd name="T76" fmla="*/ 8989 w 17884"/>
                <a:gd name="T77" fmla="*/ 6475 h 7103"/>
                <a:gd name="T78" fmla="*/ 8128 w 17884"/>
                <a:gd name="T79" fmla="*/ 6088 h 7103"/>
                <a:gd name="T80" fmla="*/ 7696 w 17884"/>
                <a:gd name="T81" fmla="*/ 5017 h 7103"/>
                <a:gd name="T82" fmla="*/ 8154 w 17884"/>
                <a:gd name="T83" fmla="*/ 4283 h 7103"/>
                <a:gd name="T84" fmla="*/ 9009 w 17884"/>
                <a:gd name="T85" fmla="*/ 4193 h 7103"/>
                <a:gd name="T86" fmla="*/ 9444 w 17884"/>
                <a:gd name="T87" fmla="*/ 3764 h 7103"/>
                <a:gd name="T88" fmla="*/ 9927 w 17884"/>
                <a:gd name="T89" fmla="*/ 4341 h 7103"/>
                <a:gd name="T90" fmla="*/ 15593 w 17884"/>
                <a:gd name="T91" fmla="*/ 2600 h 7103"/>
                <a:gd name="T92" fmla="*/ 15894 w 17884"/>
                <a:gd name="T93" fmla="*/ 3287 h 7103"/>
                <a:gd name="T94" fmla="*/ 15271 w 17884"/>
                <a:gd name="T95" fmla="*/ 3514 h 7103"/>
                <a:gd name="T96" fmla="*/ 15306 w 17884"/>
                <a:gd name="T97" fmla="*/ 4519 h 7103"/>
                <a:gd name="T98" fmla="*/ 14347 w 17884"/>
                <a:gd name="T99" fmla="*/ 4471 h 7103"/>
                <a:gd name="T100" fmla="*/ 13674 w 17884"/>
                <a:gd name="T101" fmla="*/ 5170 h 7103"/>
                <a:gd name="T102" fmla="*/ 13202 w 17884"/>
                <a:gd name="T103" fmla="*/ 4875 h 7103"/>
                <a:gd name="T104" fmla="*/ 12174 w 17884"/>
                <a:gd name="T105" fmla="*/ 4399 h 7103"/>
                <a:gd name="T106" fmla="*/ 11724 w 17884"/>
                <a:gd name="T107" fmla="*/ 3830 h 7103"/>
                <a:gd name="T108" fmla="*/ 10880 w 17884"/>
                <a:gd name="T109" fmla="*/ 2970 h 7103"/>
                <a:gd name="T110" fmla="*/ 11566 w 17884"/>
                <a:gd name="T111" fmla="*/ 2225 h 7103"/>
                <a:gd name="T112" fmla="*/ 11613 w 17884"/>
                <a:gd name="T113" fmla="*/ 1171 h 7103"/>
                <a:gd name="T114" fmla="*/ 12520 w 17884"/>
                <a:gd name="T115" fmla="*/ 1087 h 7103"/>
                <a:gd name="T116" fmla="*/ 13491 w 17884"/>
                <a:gd name="T117" fmla="*/ 243 h 7103"/>
                <a:gd name="T118" fmla="*/ 14191 w 17884"/>
                <a:gd name="T119" fmla="*/ 1041 h 7103"/>
                <a:gd name="T120" fmla="*/ 15253 w 17884"/>
                <a:gd name="T121" fmla="*/ 1039 h 7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884" h="7103">
                  <a:moveTo>
                    <a:pt x="17525" y="1060"/>
                  </a:moveTo>
                  <a:cubicBezTo>
                    <a:pt x="17220" y="1060"/>
                    <a:pt x="17220" y="1060"/>
                    <a:pt x="17220" y="1060"/>
                  </a:cubicBezTo>
                  <a:cubicBezTo>
                    <a:pt x="17474" y="1314"/>
                    <a:pt x="17474" y="1314"/>
                    <a:pt x="17474" y="1314"/>
                  </a:cubicBezTo>
                  <a:cubicBezTo>
                    <a:pt x="17112" y="1306"/>
                    <a:pt x="16846" y="1266"/>
                    <a:pt x="16628" y="1233"/>
                  </a:cubicBezTo>
                  <a:cubicBezTo>
                    <a:pt x="16285" y="1181"/>
                    <a:pt x="16037" y="1144"/>
                    <a:pt x="15701" y="1262"/>
                  </a:cubicBezTo>
                  <a:cubicBezTo>
                    <a:pt x="15691" y="1266"/>
                    <a:pt x="15681" y="1269"/>
                    <a:pt x="15672" y="1273"/>
                  </a:cubicBezTo>
                  <a:cubicBezTo>
                    <a:pt x="15609" y="1181"/>
                    <a:pt x="15481" y="993"/>
                    <a:pt x="15424" y="914"/>
                  </a:cubicBezTo>
                  <a:cubicBezTo>
                    <a:pt x="15410" y="896"/>
                    <a:pt x="15397" y="877"/>
                    <a:pt x="15384" y="857"/>
                  </a:cubicBezTo>
                  <a:cubicBezTo>
                    <a:pt x="15352" y="810"/>
                    <a:pt x="15319" y="761"/>
                    <a:pt x="15276" y="716"/>
                  </a:cubicBezTo>
                  <a:cubicBezTo>
                    <a:pt x="15171" y="607"/>
                    <a:pt x="15024" y="598"/>
                    <a:pt x="14910" y="693"/>
                  </a:cubicBezTo>
                  <a:cubicBezTo>
                    <a:pt x="14860" y="734"/>
                    <a:pt x="14860" y="734"/>
                    <a:pt x="14860" y="734"/>
                  </a:cubicBezTo>
                  <a:cubicBezTo>
                    <a:pt x="14766" y="813"/>
                    <a:pt x="14668" y="894"/>
                    <a:pt x="14576" y="982"/>
                  </a:cubicBezTo>
                  <a:cubicBezTo>
                    <a:pt x="14568" y="988"/>
                    <a:pt x="14535" y="991"/>
                    <a:pt x="14510" y="977"/>
                  </a:cubicBezTo>
                  <a:cubicBezTo>
                    <a:pt x="14438" y="937"/>
                    <a:pt x="14367" y="897"/>
                    <a:pt x="14295" y="856"/>
                  </a:cubicBezTo>
                  <a:cubicBezTo>
                    <a:pt x="14202" y="804"/>
                    <a:pt x="14202" y="804"/>
                    <a:pt x="14202" y="804"/>
                  </a:cubicBezTo>
                  <a:cubicBezTo>
                    <a:pt x="14192" y="798"/>
                    <a:pt x="14182" y="793"/>
                    <a:pt x="14172" y="787"/>
                  </a:cubicBezTo>
                  <a:cubicBezTo>
                    <a:pt x="14147" y="772"/>
                    <a:pt x="14121" y="757"/>
                    <a:pt x="14093" y="743"/>
                  </a:cubicBezTo>
                  <a:cubicBezTo>
                    <a:pt x="14060" y="727"/>
                    <a:pt x="14045" y="709"/>
                    <a:pt x="14052" y="658"/>
                  </a:cubicBezTo>
                  <a:cubicBezTo>
                    <a:pt x="14066" y="548"/>
                    <a:pt x="14078" y="456"/>
                    <a:pt x="14088" y="360"/>
                  </a:cubicBezTo>
                  <a:cubicBezTo>
                    <a:pt x="14103" y="222"/>
                    <a:pt x="14028" y="113"/>
                    <a:pt x="13893" y="74"/>
                  </a:cubicBezTo>
                  <a:cubicBezTo>
                    <a:pt x="13855" y="64"/>
                    <a:pt x="13749" y="53"/>
                    <a:pt x="13510" y="32"/>
                  </a:cubicBezTo>
                  <a:cubicBezTo>
                    <a:pt x="13439" y="26"/>
                    <a:pt x="13358" y="18"/>
                    <a:pt x="13344" y="16"/>
                  </a:cubicBezTo>
                  <a:cubicBezTo>
                    <a:pt x="13264" y="0"/>
                    <a:pt x="13184" y="21"/>
                    <a:pt x="13123" y="72"/>
                  </a:cubicBezTo>
                  <a:cubicBezTo>
                    <a:pt x="13055" y="130"/>
                    <a:pt x="13018" y="223"/>
                    <a:pt x="13022" y="326"/>
                  </a:cubicBezTo>
                  <a:cubicBezTo>
                    <a:pt x="13026" y="410"/>
                    <a:pt x="13019" y="475"/>
                    <a:pt x="13012" y="550"/>
                  </a:cubicBezTo>
                  <a:cubicBezTo>
                    <a:pt x="13009" y="582"/>
                    <a:pt x="13006" y="616"/>
                    <a:pt x="13003" y="654"/>
                  </a:cubicBezTo>
                  <a:cubicBezTo>
                    <a:pt x="13002" y="670"/>
                    <a:pt x="12977" y="684"/>
                    <a:pt x="12957" y="691"/>
                  </a:cubicBezTo>
                  <a:cubicBezTo>
                    <a:pt x="12763" y="761"/>
                    <a:pt x="12593" y="827"/>
                    <a:pt x="12438" y="891"/>
                  </a:cubicBezTo>
                  <a:cubicBezTo>
                    <a:pt x="12422" y="898"/>
                    <a:pt x="12399" y="903"/>
                    <a:pt x="12372" y="873"/>
                  </a:cubicBezTo>
                  <a:cubicBezTo>
                    <a:pt x="12341" y="839"/>
                    <a:pt x="12310" y="806"/>
                    <a:pt x="12278" y="772"/>
                  </a:cubicBezTo>
                  <a:cubicBezTo>
                    <a:pt x="12250" y="742"/>
                    <a:pt x="12222" y="712"/>
                    <a:pt x="12194" y="681"/>
                  </a:cubicBezTo>
                  <a:cubicBezTo>
                    <a:pt x="12140" y="622"/>
                    <a:pt x="12067" y="588"/>
                    <a:pt x="11992" y="588"/>
                  </a:cubicBezTo>
                  <a:cubicBezTo>
                    <a:pt x="11991" y="588"/>
                    <a:pt x="11991" y="588"/>
                    <a:pt x="11991" y="588"/>
                  </a:cubicBezTo>
                  <a:cubicBezTo>
                    <a:pt x="11939" y="588"/>
                    <a:pt x="11862" y="604"/>
                    <a:pt x="11791" y="682"/>
                  </a:cubicBezTo>
                  <a:cubicBezTo>
                    <a:pt x="11685" y="798"/>
                    <a:pt x="11572" y="912"/>
                    <a:pt x="11463" y="1022"/>
                  </a:cubicBezTo>
                  <a:cubicBezTo>
                    <a:pt x="11413" y="1072"/>
                    <a:pt x="11413" y="1072"/>
                    <a:pt x="11413" y="1072"/>
                  </a:cubicBezTo>
                  <a:cubicBezTo>
                    <a:pt x="11355" y="1130"/>
                    <a:pt x="11325" y="1204"/>
                    <a:pt x="11327" y="1278"/>
                  </a:cubicBezTo>
                  <a:cubicBezTo>
                    <a:pt x="11330" y="1351"/>
                    <a:pt x="11365" y="1421"/>
                    <a:pt x="11426" y="1474"/>
                  </a:cubicBezTo>
                  <a:cubicBezTo>
                    <a:pt x="11487" y="1528"/>
                    <a:pt x="11539" y="1570"/>
                    <a:pt x="11590" y="1608"/>
                  </a:cubicBezTo>
                  <a:cubicBezTo>
                    <a:pt x="11651" y="1653"/>
                    <a:pt x="11663" y="1683"/>
                    <a:pt x="11610" y="1760"/>
                  </a:cubicBezTo>
                  <a:cubicBezTo>
                    <a:pt x="11550" y="1848"/>
                    <a:pt x="11494" y="1939"/>
                    <a:pt x="11439" y="2028"/>
                  </a:cubicBezTo>
                  <a:cubicBezTo>
                    <a:pt x="11422" y="2056"/>
                    <a:pt x="11404" y="2084"/>
                    <a:pt x="11387" y="2113"/>
                  </a:cubicBezTo>
                  <a:cubicBezTo>
                    <a:pt x="11370" y="2138"/>
                    <a:pt x="11344" y="2150"/>
                    <a:pt x="11316" y="2143"/>
                  </a:cubicBezTo>
                  <a:cubicBezTo>
                    <a:pt x="11290" y="2137"/>
                    <a:pt x="11264" y="2131"/>
                    <a:pt x="11239" y="2124"/>
                  </a:cubicBezTo>
                  <a:cubicBezTo>
                    <a:pt x="11184" y="2111"/>
                    <a:pt x="11127" y="2097"/>
                    <a:pt x="11071" y="2084"/>
                  </a:cubicBezTo>
                  <a:cubicBezTo>
                    <a:pt x="10993" y="2067"/>
                    <a:pt x="10912" y="2082"/>
                    <a:pt x="10850" y="2126"/>
                  </a:cubicBezTo>
                  <a:cubicBezTo>
                    <a:pt x="10788" y="2170"/>
                    <a:pt x="10747" y="2237"/>
                    <a:pt x="10737" y="2316"/>
                  </a:cubicBezTo>
                  <a:cubicBezTo>
                    <a:pt x="10719" y="2451"/>
                    <a:pt x="10705" y="2588"/>
                    <a:pt x="10692" y="2721"/>
                  </a:cubicBezTo>
                  <a:cubicBezTo>
                    <a:pt x="10685" y="2796"/>
                    <a:pt x="10678" y="2872"/>
                    <a:pt x="10669" y="2947"/>
                  </a:cubicBezTo>
                  <a:cubicBezTo>
                    <a:pt x="10661" y="3021"/>
                    <a:pt x="10686" y="3096"/>
                    <a:pt x="10738" y="3153"/>
                  </a:cubicBezTo>
                  <a:cubicBezTo>
                    <a:pt x="10788" y="3209"/>
                    <a:pt x="10858" y="3241"/>
                    <a:pt x="10930" y="3241"/>
                  </a:cubicBezTo>
                  <a:cubicBezTo>
                    <a:pt x="11002" y="3241"/>
                    <a:pt x="11076" y="3244"/>
                    <a:pt x="11148" y="3246"/>
                  </a:cubicBezTo>
                  <a:cubicBezTo>
                    <a:pt x="11198" y="3248"/>
                    <a:pt x="11249" y="3249"/>
                    <a:pt x="11300" y="3250"/>
                  </a:cubicBezTo>
                  <a:cubicBezTo>
                    <a:pt x="11330" y="3251"/>
                    <a:pt x="11342" y="3258"/>
                    <a:pt x="11350" y="3267"/>
                  </a:cubicBezTo>
                  <a:cubicBezTo>
                    <a:pt x="11374" y="3313"/>
                    <a:pt x="11493" y="3558"/>
                    <a:pt x="11535" y="3646"/>
                  </a:cubicBezTo>
                  <a:cubicBezTo>
                    <a:pt x="11544" y="3666"/>
                    <a:pt x="11544" y="3696"/>
                    <a:pt x="11542" y="3714"/>
                  </a:cubicBezTo>
                  <a:cubicBezTo>
                    <a:pt x="11537" y="3721"/>
                    <a:pt x="11533" y="3728"/>
                    <a:pt x="11531" y="3736"/>
                  </a:cubicBezTo>
                  <a:cubicBezTo>
                    <a:pt x="11529" y="3741"/>
                    <a:pt x="11527" y="3745"/>
                    <a:pt x="11525" y="3750"/>
                  </a:cubicBezTo>
                  <a:cubicBezTo>
                    <a:pt x="11448" y="3868"/>
                    <a:pt x="11336" y="3876"/>
                    <a:pt x="11056" y="3882"/>
                  </a:cubicBezTo>
                  <a:cubicBezTo>
                    <a:pt x="11017" y="3882"/>
                    <a:pt x="11017" y="3882"/>
                    <a:pt x="11017" y="3882"/>
                  </a:cubicBezTo>
                  <a:cubicBezTo>
                    <a:pt x="10658" y="3890"/>
                    <a:pt x="10404" y="3926"/>
                    <a:pt x="10195" y="4085"/>
                  </a:cubicBezTo>
                  <a:cubicBezTo>
                    <a:pt x="10194" y="4086"/>
                    <a:pt x="10193" y="4087"/>
                    <a:pt x="10191" y="4088"/>
                  </a:cubicBezTo>
                  <a:cubicBezTo>
                    <a:pt x="10186" y="4093"/>
                    <a:pt x="10181" y="4097"/>
                    <a:pt x="10175" y="4101"/>
                  </a:cubicBezTo>
                  <a:cubicBezTo>
                    <a:pt x="10169" y="4106"/>
                    <a:pt x="10163" y="4111"/>
                    <a:pt x="10157" y="4116"/>
                  </a:cubicBezTo>
                  <a:cubicBezTo>
                    <a:pt x="10156" y="4117"/>
                    <a:pt x="10156" y="4118"/>
                    <a:pt x="10155" y="4118"/>
                  </a:cubicBezTo>
                  <a:cubicBezTo>
                    <a:pt x="10132" y="4136"/>
                    <a:pt x="10110" y="4154"/>
                    <a:pt x="10088" y="4170"/>
                  </a:cubicBezTo>
                  <a:cubicBezTo>
                    <a:pt x="10082" y="4175"/>
                    <a:pt x="10073" y="4182"/>
                    <a:pt x="10041" y="4162"/>
                  </a:cubicBezTo>
                  <a:cubicBezTo>
                    <a:pt x="9966" y="4114"/>
                    <a:pt x="9887" y="4063"/>
                    <a:pt x="9812" y="4008"/>
                  </a:cubicBezTo>
                  <a:cubicBezTo>
                    <a:pt x="9809" y="4005"/>
                    <a:pt x="9801" y="3999"/>
                    <a:pt x="9798" y="3973"/>
                  </a:cubicBezTo>
                  <a:cubicBezTo>
                    <a:pt x="9796" y="3962"/>
                    <a:pt x="9798" y="3947"/>
                    <a:pt x="9801" y="3930"/>
                  </a:cubicBezTo>
                  <a:cubicBezTo>
                    <a:pt x="9802" y="3922"/>
                    <a:pt x="9803" y="3914"/>
                    <a:pt x="9804" y="3906"/>
                  </a:cubicBezTo>
                  <a:cubicBezTo>
                    <a:pt x="9827" y="3696"/>
                    <a:pt x="9752" y="3601"/>
                    <a:pt x="9538" y="3567"/>
                  </a:cubicBezTo>
                  <a:cubicBezTo>
                    <a:pt x="9522" y="3564"/>
                    <a:pt x="9506" y="3561"/>
                    <a:pt x="9490" y="3557"/>
                  </a:cubicBezTo>
                  <a:cubicBezTo>
                    <a:pt x="9466" y="3552"/>
                    <a:pt x="9441" y="3546"/>
                    <a:pt x="9414" y="3543"/>
                  </a:cubicBezTo>
                  <a:cubicBezTo>
                    <a:pt x="9305" y="3529"/>
                    <a:pt x="9234" y="3566"/>
                    <a:pt x="9193" y="3600"/>
                  </a:cubicBezTo>
                  <a:cubicBezTo>
                    <a:pt x="9137" y="3647"/>
                    <a:pt x="9103" y="3718"/>
                    <a:pt x="9098" y="3802"/>
                  </a:cubicBezTo>
                  <a:cubicBezTo>
                    <a:pt x="9096" y="3820"/>
                    <a:pt x="9096" y="3820"/>
                    <a:pt x="9096" y="3820"/>
                  </a:cubicBezTo>
                  <a:cubicBezTo>
                    <a:pt x="9096" y="3838"/>
                    <a:pt x="9095" y="3855"/>
                    <a:pt x="9093" y="3870"/>
                  </a:cubicBezTo>
                  <a:cubicBezTo>
                    <a:pt x="9089" y="3905"/>
                    <a:pt x="9075" y="3923"/>
                    <a:pt x="9042" y="3936"/>
                  </a:cubicBezTo>
                  <a:cubicBezTo>
                    <a:pt x="8999" y="3952"/>
                    <a:pt x="8951" y="3980"/>
                    <a:pt x="8901" y="4010"/>
                  </a:cubicBezTo>
                  <a:cubicBezTo>
                    <a:pt x="8860" y="4034"/>
                    <a:pt x="8794" y="4073"/>
                    <a:pt x="8768" y="4080"/>
                  </a:cubicBezTo>
                  <a:cubicBezTo>
                    <a:pt x="8729" y="4075"/>
                    <a:pt x="8703" y="4068"/>
                    <a:pt x="8674" y="4001"/>
                  </a:cubicBezTo>
                  <a:cubicBezTo>
                    <a:pt x="8641" y="3923"/>
                    <a:pt x="8575" y="3868"/>
                    <a:pt x="8494" y="3849"/>
                  </a:cubicBezTo>
                  <a:cubicBezTo>
                    <a:pt x="8408" y="3829"/>
                    <a:pt x="8314" y="3852"/>
                    <a:pt x="8249" y="3908"/>
                  </a:cubicBezTo>
                  <a:cubicBezTo>
                    <a:pt x="8218" y="3934"/>
                    <a:pt x="8218" y="3934"/>
                    <a:pt x="8218" y="3934"/>
                  </a:cubicBezTo>
                  <a:cubicBezTo>
                    <a:pt x="8162" y="3983"/>
                    <a:pt x="8104" y="4033"/>
                    <a:pt x="8045" y="4079"/>
                  </a:cubicBezTo>
                  <a:cubicBezTo>
                    <a:pt x="7982" y="4128"/>
                    <a:pt x="7945" y="4198"/>
                    <a:pt x="7942" y="4274"/>
                  </a:cubicBezTo>
                  <a:cubicBezTo>
                    <a:pt x="7939" y="4360"/>
                    <a:pt x="7978" y="4449"/>
                    <a:pt x="8051" y="4516"/>
                  </a:cubicBezTo>
                  <a:cubicBezTo>
                    <a:pt x="8091" y="4553"/>
                    <a:pt x="8084" y="4567"/>
                    <a:pt x="8074" y="4585"/>
                  </a:cubicBezTo>
                  <a:cubicBezTo>
                    <a:pt x="8047" y="4634"/>
                    <a:pt x="8022" y="4682"/>
                    <a:pt x="7994" y="4728"/>
                  </a:cubicBezTo>
                  <a:cubicBezTo>
                    <a:pt x="7970" y="4767"/>
                    <a:pt x="7954" y="4775"/>
                    <a:pt x="7908" y="4768"/>
                  </a:cubicBezTo>
                  <a:cubicBezTo>
                    <a:pt x="7897" y="4766"/>
                    <a:pt x="7885" y="4764"/>
                    <a:pt x="7874" y="4762"/>
                  </a:cubicBezTo>
                  <a:cubicBezTo>
                    <a:pt x="7834" y="4755"/>
                    <a:pt x="7789" y="4748"/>
                    <a:pt x="7741" y="4749"/>
                  </a:cubicBezTo>
                  <a:cubicBezTo>
                    <a:pt x="7609" y="4754"/>
                    <a:pt x="7516" y="4837"/>
                    <a:pt x="7489" y="4975"/>
                  </a:cubicBezTo>
                  <a:cubicBezTo>
                    <a:pt x="7472" y="5057"/>
                    <a:pt x="7454" y="5154"/>
                    <a:pt x="7441" y="5251"/>
                  </a:cubicBezTo>
                  <a:cubicBezTo>
                    <a:pt x="7430" y="5328"/>
                    <a:pt x="7451" y="5401"/>
                    <a:pt x="7500" y="5457"/>
                  </a:cubicBezTo>
                  <a:cubicBezTo>
                    <a:pt x="7552" y="5516"/>
                    <a:pt x="7630" y="5551"/>
                    <a:pt x="7714" y="5551"/>
                  </a:cubicBezTo>
                  <a:cubicBezTo>
                    <a:pt x="7725" y="5551"/>
                    <a:pt x="7741" y="5550"/>
                    <a:pt x="7775" y="5548"/>
                  </a:cubicBezTo>
                  <a:cubicBezTo>
                    <a:pt x="7814" y="5546"/>
                    <a:pt x="7894" y="5541"/>
                    <a:pt x="7940" y="5542"/>
                  </a:cubicBezTo>
                  <a:cubicBezTo>
                    <a:pt x="7973" y="5589"/>
                    <a:pt x="8032" y="5721"/>
                    <a:pt x="8064" y="5815"/>
                  </a:cubicBezTo>
                  <a:cubicBezTo>
                    <a:pt x="8077" y="5854"/>
                    <a:pt x="8080" y="5864"/>
                    <a:pt x="8009" y="5913"/>
                  </a:cubicBezTo>
                  <a:cubicBezTo>
                    <a:pt x="7844" y="6025"/>
                    <a:pt x="7657" y="6098"/>
                    <a:pt x="7479" y="6159"/>
                  </a:cubicBezTo>
                  <a:cubicBezTo>
                    <a:pt x="7477" y="6160"/>
                    <a:pt x="7475" y="6160"/>
                    <a:pt x="7473" y="6161"/>
                  </a:cubicBezTo>
                  <a:cubicBezTo>
                    <a:pt x="6853" y="6416"/>
                    <a:pt x="6318" y="6297"/>
                    <a:pt x="5577" y="6132"/>
                  </a:cubicBezTo>
                  <a:cubicBezTo>
                    <a:pt x="5020" y="6008"/>
                    <a:pt x="4389" y="5868"/>
                    <a:pt x="3541" y="5838"/>
                  </a:cubicBezTo>
                  <a:cubicBezTo>
                    <a:pt x="2105" y="5788"/>
                    <a:pt x="772" y="5967"/>
                    <a:pt x="0" y="6102"/>
                  </a:cubicBezTo>
                  <a:cubicBezTo>
                    <a:pt x="0" y="6317"/>
                    <a:pt x="0" y="6317"/>
                    <a:pt x="0" y="6317"/>
                  </a:cubicBezTo>
                  <a:cubicBezTo>
                    <a:pt x="754" y="6184"/>
                    <a:pt x="2091" y="6000"/>
                    <a:pt x="3534" y="6050"/>
                  </a:cubicBezTo>
                  <a:cubicBezTo>
                    <a:pt x="4362" y="6079"/>
                    <a:pt x="4983" y="6217"/>
                    <a:pt x="5531" y="6339"/>
                  </a:cubicBezTo>
                  <a:cubicBezTo>
                    <a:pt x="5964" y="6435"/>
                    <a:pt x="6345" y="6520"/>
                    <a:pt x="6721" y="6520"/>
                  </a:cubicBezTo>
                  <a:cubicBezTo>
                    <a:pt x="6994" y="6520"/>
                    <a:pt x="7265" y="6475"/>
                    <a:pt x="7551" y="6358"/>
                  </a:cubicBezTo>
                  <a:cubicBezTo>
                    <a:pt x="7639" y="6328"/>
                    <a:pt x="7729" y="6295"/>
                    <a:pt x="7819" y="6256"/>
                  </a:cubicBezTo>
                  <a:cubicBezTo>
                    <a:pt x="7823" y="6262"/>
                    <a:pt x="7827" y="6268"/>
                    <a:pt x="7832" y="6276"/>
                  </a:cubicBezTo>
                  <a:cubicBezTo>
                    <a:pt x="8013" y="6537"/>
                    <a:pt x="8083" y="6620"/>
                    <a:pt x="8145" y="6645"/>
                  </a:cubicBezTo>
                  <a:cubicBezTo>
                    <a:pt x="8148" y="6646"/>
                    <a:pt x="8150" y="6647"/>
                    <a:pt x="8153" y="6648"/>
                  </a:cubicBezTo>
                  <a:cubicBezTo>
                    <a:pt x="8278" y="6687"/>
                    <a:pt x="8368" y="6623"/>
                    <a:pt x="8422" y="6584"/>
                  </a:cubicBezTo>
                  <a:cubicBezTo>
                    <a:pt x="8443" y="6569"/>
                    <a:pt x="8465" y="6552"/>
                    <a:pt x="8486" y="6536"/>
                  </a:cubicBezTo>
                  <a:cubicBezTo>
                    <a:pt x="8507" y="6520"/>
                    <a:pt x="8527" y="6504"/>
                    <a:pt x="8549" y="6489"/>
                  </a:cubicBezTo>
                  <a:cubicBezTo>
                    <a:pt x="8554" y="6485"/>
                    <a:pt x="8566" y="6477"/>
                    <a:pt x="8595" y="6492"/>
                  </a:cubicBezTo>
                  <a:cubicBezTo>
                    <a:pt x="8680" y="6539"/>
                    <a:pt x="8781" y="6594"/>
                    <a:pt x="8876" y="6654"/>
                  </a:cubicBezTo>
                  <a:cubicBezTo>
                    <a:pt x="8888" y="6662"/>
                    <a:pt x="8895" y="6691"/>
                    <a:pt x="8892" y="6703"/>
                  </a:cubicBezTo>
                  <a:cubicBezTo>
                    <a:pt x="8890" y="6711"/>
                    <a:pt x="8888" y="6720"/>
                    <a:pt x="8885" y="6729"/>
                  </a:cubicBezTo>
                  <a:cubicBezTo>
                    <a:pt x="8879" y="6748"/>
                    <a:pt x="8873" y="6771"/>
                    <a:pt x="8869" y="6796"/>
                  </a:cubicBezTo>
                  <a:cubicBezTo>
                    <a:pt x="8853" y="6920"/>
                    <a:pt x="8940" y="7040"/>
                    <a:pt x="9067" y="7070"/>
                  </a:cubicBezTo>
                  <a:cubicBezTo>
                    <a:pt x="9162" y="7093"/>
                    <a:pt x="9256" y="7099"/>
                    <a:pt x="9336" y="7103"/>
                  </a:cubicBezTo>
                  <a:cubicBezTo>
                    <a:pt x="9340" y="7103"/>
                    <a:pt x="9345" y="7103"/>
                    <a:pt x="9349" y="7103"/>
                  </a:cubicBezTo>
                  <a:cubicBezTo>
                    <a:pt x="9424" y="7103"/>
                    <a:pt x="9472" y="7074"/>
                    <a:pt x="9499" y="7049"/>
                  </a:cubicBezTo>
                  <a:cubicBezTo>
                    <a:pt x="9528" y="7022"/>
                    <a:pt x="9564" y="6972"/>
                    <a:pt x="9568" y="6884"/>
                  </a:cubicBezTo>
                  <a:cubicBezTo>
                    <a:pt x="9569" y="6856"/>
                    <a:pt x="9569" y="6856"/>
                    <a:pt x="9569" y="6856"/>
                  </a:cubicBezTo>
                  <a:cubicBezTo>
                    <a:pt x="9571" y="6801"/>
                    <a:pt x="9573" y="6753"/>
                    <a:pt x="9589" y="6713"/>
                  </a:cubicBezTo>
                  <a:cubicBezTo>
                    <a:pt x="9593" y="6703"/>
                    <a:pt x="9596" y="6698"/>
                    <a:pt x="9611" y="6690"/>
                  </a:cubicBezTo>
                  <a:cubicBezTo>
                    <a:pt x="9679" y="6654"/>
                    <a:pt x="9756" y="6620"/>
                    <a:pt x="9852" y="6581"/>
                  </a:cubicBezTo>
                  <a:cubicBezTo>
                    <a:pt x="9888" y="6566"/>
                    <a:pt x="9917" y="6575"/>
                    <a:pt x="9922" y="6580"/>
                  </a:cubicBezTo>
                  <a:cubicBezTo>
                    <a:pt x="9937" y="6607"/>
                    <a:pt x="9951" y="6636"/>
                    <a:pt x="9966" y="6666"/>
                  </a:cubicBezTo>
                  <a:cubicBezTo>
                    <a:pt x="9974" y="6682"/>
                    <a:pt x="9982" y="6698"/>
                    <a:pt x="9990" y="6714"/>
                  </a:cubicBezTo>
                  <a:cubicBezTo>
                    <a:pt x="10006" y="6746"/>
                    <a:pt x="10057" y="6846"/>
                    <a:pt x="10187" y="6853"/>
                  </a:cubicBezTo>
                  <a:cubicBezTo>
                    <a:pt x="10247" y="6857"/>
                    <a:pt x="10297" y="6841"/>
                    <a:pt x="10338" y="6806"/>
                  </a:cubicBezTo>
                  <a:cubicBezTo>
                    <a:pt x="10365" y="6784"/>
                    <a:pt x="10391" y="6762"/>
                    <a:pt x="10418" y="6741"/>
                  </a:cubicBezTo>
                  <a:cubicBezTo>
                    <a:pt x="10482" y="6688"/>
                    <a:pt x="10549" y="6634"/>
                    <a:pt x="10610" y="6572"/>
                  </a:cubicBezTo>
                  <a:cubicBezTo>
                    <a:pt x="10668" y="6514"/>
                    <a:pt x="10698" y="6442"/>
                    <a:pt x="10694" y="6370"/>
                  </a:cubicBezTo>
                  <a:cubicBezTo>
                    <a:pt x="10692" y="6316"/>
                    <a:pt x="10670" y="6237"/>
                    <a:pt x="10583" y="6165"/>
                  </a:cubicBezTo>
                  <a:cubicBezTo>
                    <a:pt x="10577" y="6160"/>
                    <a:pt x="10571" y="6155"/>
                    <a:pt x="10565" y="6150"/>
                  </a:cubicBezTo>
                  <a:cubicBezTo>
                    <a:pt x="10532" y="6124"/>
                    <a:pt x="10523" y="6115"/>
                    <a:pt x="10521" y="6103"/>
                  </a:cubicBezTo>
                  <a:cubicBezTo>
                    <a:pt x="10519" y="6096"/>
                    <a:pt x="10519" y="6096"/>
                    <a:pt x="10519" y="6096"/>
                  </a:cubicBezTo>
                  <a:cubicBezTo>
                    <a:pt x="10519" y="6095"/>
                    <a:pt x="10519" y="6094"/>
                    <a:pt x="10519" y="6094"/>
                  </a:cubicBezTo>
                  <a:cubicBezTo>
                    <a:pt x="10528" y="6069"/>
                    <a:pt x="10528" y="6069"/>
                    <a:pt x="10528" y="6069"/>
                  </a:cubicBezTo>
                  <a:cubicBezTo>
                    <a:pt x="10555" y="5996"/>
                    <a:pt x="10581" y="5927"/>
                    <a:pt x="10612" y="5860"/>
                  </a:cubicBezTo>
                  <a:cubicBezTo>
                    <a:pt x="10620" y="5854"/>
                    <a:pt x="10642" y="5848"/>
                    <a:pt x="10656" y="5852"/>
                  </a:cubicBezTo>
                  <a:cubicBezTo>
                    <a:pt x="10678" y="5857"/>
                    <a:pt x="10703" y="5865"/>
                    <a:pt x="10735" y="5877"/>
                  </a:cubicBezTo>
                  <a:cubicBezTo>
                    <a:pt x="10799" y="5902"/>
                    <a:pt x="10875" y="5899"/>
                    <a:pt x="10942" y="5869"/>
                  </a:cubicBezTo>
                  <a:cubicBezTo>
                    <a:pt x="11006" y="5840"/>
                    <a:pt x="11054" y="5790"/>
                    <a:pt x="11077" y="5729"/>
                  </a:cubicBezTo>
                  <a:cubicBezTo>
                    <a:pt x="11082" y="5714"/>
                    <a:pt x="11088" y="5699"/>
                    <a:pt x="11094" y="5684"/>
                  </a:cubicBezTo>
                  <a:cubicBezTo>
                    <a:pt x="11117" y="5622"/>
                    <a:pt x="11142" y="5558"/>
                    <a:pt x="11161" y="5492"/>
                  </a:cubicBezTo>
                  <a:cubicBezTo>
                    <a:pt x="11182" y="5416"/>
                    <a:pt x="11170" y="5340"/>
                    <a:pt x="11127" y="5278"/>
                  </a:cubicBezTo>
                  <a:cubicBezTo>
                    <a:pt x="11079" y="5210"/>
                    <a:pt x="10998" y="5166"/>
                    <a:pt x="10904" y="5158"/>
                  </a:cubicBezTo>
                  <a:cubicBezTo>
                    <a:pt x="10890" y="5157"/>
                    <a:pt x="10875" y="5157"/>
                    <a:pt x="10861" y="5157"/>
                  </a:cubicBezTo>
                  <a:cubicBezTo>
                    <a:pt x="10856" y="5157"/>
                    <a:pt x="10851" y="5157"/>
                    <a:pt x="10845" y="5156"/>
                  </a:cubicBezTo>
                  <a:cubicBezTo>
                    <a:pt x="10768" y="5155"/>
                    <a:pt x="10758" y="5154"/>
                    <a:pt x="10733" y="5065"/>
                  </a:cubicBezTo>
                  <a:cubicBezTo>
                    <a:pt x="10723" y="5031"/>
                    <a:pt x="10712" y="4999"/>
                    <a:pt x="10701" y="4967"/>
                  </a:cubicBezTo>
                  <a:cubicBezTo>
                    <a:pt x="10685" y="4923"/>
                    <a:pt x="10670" y="4882"/>
                    <a:pt x="10662" y="4840"/>
                  </a:cubicBezTo>
                  <a:cubicBezTo>
                    <a:pt x="10652" y="4790"/>
                    <a:pt x="10673" y="4774"/>
                    <a:pt x="10696" y="4764"/>
                  </a:cubicBezTo>
                  <a:cubicBezTo>
                    <a:pt x="10812" y="4716"/>
                    <a:pt x="10857" y="4643"/>
                    <a:pt x="10874" y="4591"/>
                  </a:cubicBezTo>
                  <a:cubicBezTo>
                    <a:pt x="10892" y="4538"/>
                    <a:pt x="10899" y="4452"/>
                    <a:pt x="10834" y="4342"/>
                  </a:cubicBezTo>
                  <a:cubicBezTo>
                    <a:pt x="10814" y="4308"/>
                    <a:pt x="10778" y="4254"/>
                    <a:pt x="10739" y="4197"/>
                  </a:cubicBezTo>
                  <a:cubicBezTo>
                    <a:pt x="10722" y="4171"/>
                    <a:pt x="10703" y="4144"/>
                    <a:pt x="10686" y="4118"/>
                  </a:cubicBezTo>
                  <a:cubicBezTo>
                    <a:pt x="10779" y="4104"/>
                    <a:pt x="10888" y="4097"/>
                    <a:pt x="11021" y="4094"/>
                  </a:cubicBezTo>
                  <a:cubicBezTo>
                    <a:pt x="11060" y="4094"/>
                    <a:pt x="11060" y="4094"/>
                    <a:pt x="11060" y="4094"/>
                  </a:cubicBezTo>
                  <a:cubicBezTo>
                    <a:pt x="11146" y="4092"/>
                    <a:pt x="11226" y="4090"/>
                    <a:pt x="11301" y="4082"/>
                  </a:cubicBezTo>
                  <a:cubicBezTo>
                    <a:pt x="11292" y="4109"/>
                    <a:pt x="11285" y="4138"/>
                    <a:pt x="11285" y="4170"/>
                  </a:cubicBezTo>
                  <a:cubicBezTo>
                    <a:pt x="11285" y="4317"/>
                    <a:pt x="11469" y="4469"/>
                    <a:pt x="11708" y="4654"/>
                  </a:cubicBezTo>
                  <a:cubicBezTo>
                    <a:pt x="11744" y="4681"/>
                    <a:pt x="11774" y="4704"/>
                    <a:pt x="11792" y="4720"/>
                  </a:cubicBezTo>
                  <a:cubicBezTo>
                    <a:pt x="11922" y="4830"/>
                    <a:pt x="12085" y="4817"/>
                    <a:pt x="12199" y="4687"/>
                  </a:cubicBezTo>
                  <a:cubicBezTo>
                    <a:pt x="12242" y="4639"/>
                    <a:pt x="12287" y="4590"/>
                    <a:pt x="12330" y="4543"/>
                  </a:cubicBezTo>
                  <a:cubicBezTo>
                    <a:pt x="12346" y="4526"/>
                    <a:pt x="12362" y="4509"/>
                    <a:pt x="12378" y="4492"/>
                  </a:cubicBezTo>
                  <a:cubicBezTo>
                    <a:pt x="12456" y="4523"/>
                    <a:pt x="12530" y="4562"/>
                    <a:pt x="12609" y="4603"/>
                  </a:cubicBezTo>
                  <a:cubicBezTo>
                    <a:pt x="12637" y="4617"/>
                    <a:pt x="12665" y="4632"/>
                    <a:pt x="12693" y="4646"/>
                  </a:cubicBezTo>
                  <a:cubicBezTo>
                    <a:pt x="12787" y="4693"/>
                    <a:pt x="12883" y="4746"/>
                    <a:pt x="12977" y="4803"/>
                  </a:cubicBezTo>
                  <a:cubicBezTo>
                    <a:pt x="12983" y="4806"/>
                    <a:pt x="12996" y="4814"/>
                    <a:pt x="12992" y="4851"/>
                  </a:cubicBezTo>
                  <a:cubicBezTo>
                    <a:pt x="12986" y="4896"/>
                    <a:pt x="12980" y="4940"/>
                    <a:pt x="12973" y="4987"/>
                  </a:cubicBezTo>
                  <a:cubicBezTo>
                    <a:pt x="12967" y="5025"/>
                    <a:pt x="12961" y="5062"/>
                    <a:pt x="12957" y="5099"/>
                  </a:cubicBezTo>
                  <a:cubicBezTo>
                    <a:pt x="12946" y="5178"/>
                    <a:pt x="12971" y="5256"/>
                    <a:pt x="13024" y="5314"/>
                  </a:cubicBezTo>
                  <a:cubicBezTo>
                    <a:pt x="13074" y="5369"/>
                    <a:pt x="13144" y="5399"/>
                    <a:pt x="13217" y="5399"/>
                  </a:cubicBezTo>
                  <a:cubicBezTo>
                    <a:pt x="13221" y="5399"/>
                    <a:pt x="13224" y="5399"/>
                    <a:pt x="13228" y="5399"/>
                  </a:cubicBezTo>
                  <a:cubicBezTo>
                    <a:pt x="13278" y="5397"/>
                    <a:pt x="13328" y="5396"/>
                    <a:pt x="13378" y="5394"/>
                  </a:cubicBezTo>
                  <a:cubicBezTo>
                    <a:pt x="13467" y="5391"/>
                    <a:pt x="13559" y="5389"/>
                    <a:pt x="13651" y="5383"/>
                  </a:cubicBezTo>
                  <a:cubicBezTo>
                    <a:pt x="13660" y="5382"/>
                    <a:pt x="13670" y="5382"/>
                    <a:pt x="13679" y="5382"/>
                  </a:cubicBezTo>
                  <a:cubicBezTo>
                    <a:pt x="13723" y="5381"/>
                    <a:pt x="13783" y="5380"/>
                    <a:pt x="13843" y="5344"/>
                  </a:cubicBezTo>
                  <a:cubicBezTo>
                    <a:pt x="13929" y="5294"/>
                    <a:pt x="13975" y="5208"/>
                    <a:pt x="13972" y="5103"/>
                  </a:cubicBezTo>
                  <a:cubicBezTo>
                    <a:pt x="13971" y="5044"/>
                    <a:pt x="13963" y="4987"/>
                    <a:pt x="13955" y="4932"/>
                  </a:cubicBezTo>
                  <a:cubicBezTo>
                    <a:pt x="13952" y="4911"/>
                    <a:pt x="13949" y="4890"/>
                    <a:pt x="13946" y="4868"/>
                  </a:cubicBezTo>
                  <a:cubicBezTo>
                    <a:pt x="13943" y="4840"/>
                    <a:pt x="13944" y="4818"/>
                    <a:pt x="13995" y="4803"/>
                  </a:cubicBezTo>
                  <a:cubicBezTo>
                    <a:pt x="14052" y="4785"/>
                    <a:pt x="14109" y="4767"/>
                    <a:pt x="14165" y="4749"/>
                  </a:cubicBezTo>
                  <a:cubicBezTo>
                    <a:pt x="14244" y="4724"/>
                    <a:pt x="14326" y="4698"/>
                    <a:pt x="14406" y="4674"/>
                  </a:cubicBezTo>
                  <a:cubicBezTo>
                    <a:pt x="14425" y="4669"/>
                    <a:pt x="14443" y="4663"/>
                    <a:pt x="14461" y="4656"/>
                  </a:cubicBezTo>
                  <a:cubicBezTo>
                    <a:pt x="14481" y="4650"/>
                    <a:pt x="14500" y="4643"/>
                    <a:pt x="14518" y="4639"/>
                  </a:cubicBezTo>
                  <a:cubicBezTo>
                    <a:pt x="14547" y="4632"/>
                    <a:pt x="14577" y="4629"/>
                    <a:pt x="14624" y="4684"/>
                  </a:cubicBezTo>
                  <a:cubicBezTo>
                    <a:pt x="14679" y="4749"/>
                    <a:pt x="14739" y="4809"/>
                    <a:pt x="14797" y="4867"/>
                  </a:cubicBezTo>
                  <a:cubicBezTo>
                    <a:pt x="14824" y="4895"/>
                    <a:pt x="14824" y="4895"/>
                    <a:pt x="14824" y="4895"/>
                  </a:cubicBezTo>
                  <a:cubicBezTo>
                    <a:pt x="14949" y="5021"/>
                    <a:pt x="15108" y="5020"/>
                    <a:pt x="15239" y="4892"/>
                  </a:cubicBezTo>
                  <a:cubicBezTo>
                    <a:pt x="15315" y="4817"/>
                    <a:pt x="15389" y="4740"/>
                    <a:pt x="15460" y="4664"/>
                  </a:cubicBezTo>
                  <a:cubicBezTo>
                    <a:pt x="15494" y="4629"/>
                    <a:pt x="15528" y="4593"/>
                    <a:pt x="15562" y="4557"/>
                  </a:cubicBezTo>
                  <a:cubicBezTo>
                    <a:pt x="15638" y="4479"/>
                    <a:pt x="15651" y="4404"/>
                    <a:pt x="15648" y="4356"/>
                  </a:cubicBezTo>
                  <a:cubicBezTo>
                    <a:pt x="15646" y="4307"/>
                    <a:pt x="15626" y="4233"/>
                    <a:pt x="15543" y="4162"/>
                  </a:cubicBezTo>
                  <a:cubicBezTo>
                    <a:pt x="15491" y="4117"/>
                    <a:pt x="15491" y="4117"/>
                    <a:pt x="15491" y="4117"/>
                  </a:cubicBezTo>
                  <a:cubicBezTo>
                    <a:pt x="15434" y="4068"/>
                    <a:pt x="15375" y="4017"/>
                    <a:pt x="15317" y="3968"/>
                  </a:cubicBezTo>
                  <a:cubicBezTo>
                    <a:pt x="15271" y="3930"/>
                    <a:pt x="15277" y="3920"/>
                    <a:pt x="15296" y="3886"/>
                  </a:cubicBezTo>
                  <a:cubicBezTo>
                    <a:pt x="15345" y="3798"/>
                    <a:pt x="15400" y="3710"/>
                    <a:pt x="15452" y="3625"/>
                  </a:cubicBezTo>
                  <a:cubicBezTo>
                    <a:pt x="15473" y="3591"/>
                    <a:pt x="15493" y="3557"/>
                    <a:pt x="15514" y="3523"/>
                  </a:cubicBezTo>
                  <a:cubicBezTo>
                    <a:pt x="15518" y="3516"/>
                    <a:pt x="15522" y="3509"/>
                    <a:pt x="15527" y="3502"/>
                  </a:cubicBezTo>
                  <a:cubicBezTo>
                    <a:pt x="15536" y="3486"/>
                    <a:pt x="15544" y="3471"/>
                    <a:pt x="15552" y="3462"/>
                  </a:cubicBezTo>
                  <a:cubicBezTo>
                    <a:pt x="15573" y="3438"/>
                    <a:pt x="15586" y="3436"/>
                    <a:pt x="15608" y="3443"/>
                  </a:cubicBezTo>
                  <a:cubicBezTo>
                    <a:pt x="15633" y="3450"/>
                    <a:pt x="15660" y="3457"/>
                    <a:pt x="15686" y="3463"/>
                  </a:cubicBezTo>
                  <a:cubicBezTo>
                    <a:pt x="15718" y="3471"/>
                    <a:pt x="15749" y="3479"/>
                    <a:pt x="15778" y="3489"/>
                  </a:cubicBezTo>
                  <a:cubicBezTo>
                    <a:pt x="15882" y="3521"/>
                    <a:pt x="15957" y="3496"/>
                    <a:pt x="16002" y="3469"/>
                  </a:cubicBezTo>
                  <a:cubicBezTo>
                    <a:pt x="16068" y="3430"/>
                    <a:pt x="16112" y="3362"/>
                    <a:pt x="16128" y="3279"/>
                  </a:cubicBezTo>
                  <a:cubicBezTo>
                    <a:pt x="16144" y="3194"/>
                    <a:pt x="16157" y="3108"/>
                    <a:pt x="16171" y="3025"/>
                  </a:cubicBezTo>
                  <a:cubicBezTo>
                    <a:pt x="16186" y="2926"/>
                    <a:pt x="16203" y="2825"/>
                    <a:pt x="16222" y="2726"/>
                  </a:cubicBezTo>
                  <a:cubicBezTo>
                    <a:pt x="16234" y="2666"/>
                    <a:pt x="16220" y="2603"/>
                    <a:pt x="16181" y="2549"/>
                  </a:cubicBezTo>
                  <a:cubicBezTo>
                    <a:pt x="16135" y="2483"/>
                    <a:pt x="16057" y="2437"/>
                    <a:pt x="15974" y="2425"/>
                  </a:cubicBezTo>
                  <a:cubicBezTo>
                    <a:pt x="15919" y="2418"/>
                    <a:pt x="15865" y="2414"/>
                    <a:pt x="15813" y="2411"/>
                  </a:cubicBezTo>
                  <a:cubicBezTo>
                    <a:pt x="15750" y="2406"/>
                    <a:pt x="15690" y="2402"/>
                    <a:pt x="15632" y="2391"/>
                  </a:cubicBezTo>
                  <a:cubicBezTo>
                    <a:pt x="15583" y="2382"/>
                    <a:pt x="15542" y="2317"/>
                    <a:pt x="15524" y="2261"/>
                  </a:cubicBezTo>
                  <a:cubicBezTo>
                    <a:pt x="15502" y="2191"/>
                    <a:pt x="15477" y="1886"/>
                    <a:pt x="15504" y="1780"/>
                  </a:cubicBezTo>
                  <a:cubicBezTo>
                    <a:pt x="15559" y="1558"/>
                    <a:pt x="15628" y="1512"/>
                    <a:pt x="15771" y="1462"/>
                  </a:cubicBezTo>
                  <a:cubicBezTo>
                    <a:pt x="16058" y="1361"/>
                    <a:pt x="16272" y="1393"/>
                    <a:pt x="16596" y="1442"/>
                  </a:cubicBezTo>
                  <a:cubicBezTo>
                    <a:pt x="16821" y="1477"/>
                    <a:pt x="17096" y="1518"/>
                    <a:pt x="17472" y="1526"/>
                  </a:cubicBezTo>
                  <a:cubicBezTo>
                    <a:pt x="17220" y="1778"/>
                    <a:pt x="17220" y="1778"/>
                    <a:pt x="17220" y="1778"/>
                  </a:cubicBezTo>
                  <a:cubicBezTo>
                    <a:pt x="17525" y="1778"/>
                    <a:pt x="17525" y="1778"/>
                    <a:pt x="17525" y="1778"/>
                  </a:cubicBezTo>
                  <a:cubicBezTo>
                    <a:pt x="17884" y="1419"/>
                    <a:pt x="17884" y="1419"/>
                    <a:pt x="17884" y="1419"/>
                  </a:cubicBezTo>
                  <a:lnTo>
                    <a:pt x="17525" y="1060"/>
                  </a:lnTo>
                  <a:close/>
                  <a:moveTo>
                    <a:pt x="10673" y="4524"/>
                  </a:moveTo>
                  <a:cubicBezTo>
                    <a:pt x="10668" y="4539"/>
                    <a:pt x="10646" y="4555"/>
                    <a:pt x="10615" y="4569"/>
                  </a:cubicBezTo>
                  <a:cubicBezTo>
                    <a:pt x="10487" y="4622"/>
                    <a:pt x="10426" y="4742"/>
                    <a:pt x="10454" y="4882"/>
                  </a:cubicBezTo>
                  <a:cubicBezTo>
                    <a:pt x="10465" y="4938"/>
                    <a:pt x="10483" y="4989"/>
                    <a:pt x="10501" y="5038"/>
                  </a:cubicBezTo>
                  <a:cubicBezTo>
                    <a:pt x="10511" y="5067"/>
                    <a:pt x="10521" y="5095"/>
                    <a:pt x="10529" y="5123"/>
                  </a:cubicBezTo>
                  <a:cubicBezTo>
                    <a:pt x="10578" y="5296"/>
                    <a:pt x="10666" y="5364"/>
                    <a:pt x="10841" y="5368"/>
                  </a:cubicBezTo>
                  <a:cubicBezTo>
                    <a:pt x="10847" y="5368"/>
                    <a:pt x="10853" y="5369"/>
                    <a:pt x="10860" y="5369"/>
                  </a:cubicBezTo>
                  <a:cubicBezTo>
                    <a:pt x="10869" y="5369"/>
                    <a:pt x="10877" y="5368"/>
                    <a:pt x="10886" y="5369"/>
                  </a:cubicBezTo>
                  <a:cubicBezTo>
                    <a:pt x="10917" y="5372"/>
                    <a:pt x="10942" y="5383"/>
                    <a:pt x="10953" y="5399"/>
                  </a:cubicBezTo>
                  <a:cubicBezTo>
                    <a:pt x="10957" y="5405"/>
                    <a:pt x="10962" y="5415"/>
                    <a:pt x="10957" y="5434"/>
                  </a:cubicBezTo>
                  <a:cubicBezTo>
                    <a:pt x="10940" y="5492"/>
                    <a:pt x="10919" y="5548"/>
                    <a:pt x="10896" y="5608"/>
                  </a:cubicBezTo>
                  <a:cubicBezTo>
                    <a:pt x="10890" y="5623"/>
                    <a:pt x="10884" y="5639"/>
                    <a:pt x="10878" y="5655"/>
                  </a:cubicBezTo>
                  <a:cubicBezTo>
                    <a:pt x="10875" y="5663"/>
                    <a:pt x="10867" y="5670"/>
                    <a:pt x="10855" y="5675"/>
                  </a:cubicBezTo>
                  <a:cubicBezTo>
                    <a:pt x="10840" y="5682"/>
                    <a:pt x="10822" y="5683"/>
                    <a:pt x="10811" y="5679"/>
                  </a:cubicBezTo>
                  <a:cubicBezTo>
                    <a:pt x="10770" y="5663"/>
                    <a:pt x="10736" y="5653"/>
                    <a:pt x="10704" y="5645"/>
                  </a:cubicBezTo>
                  <a:cubicBezTo>
                    <a:pt x="10606" y="5622"/>
                    <a:pt x="10471" y="5662"/>
                    <a:pt x="10422" y="5766"/>
                  </a:cubicBezTo>
                  <a:cubicBezTo>
                    <a:pt x="10387" y="5842"/>
                    <a:pt x="10358" y="5920"/>
                    <a:pt x="10330" y="5995"/>
                  </a:cubicBezTo>
                  <a:cubicBezTo>
                    <a:pt x="10315" y="6034"/>
                    <a:pt x="10315" y="6034"/>
                    <a:pt x="10315" y="6034"/>
                  </a:cubicBezTo>
                  <a:cubicBezTo>
                    <a:pt x="10300" y="6074"/>
                    <a:pt x="10307" y="6111"/>
                    <a:pt x="10311" y="6133"/>
                  </a:cubicBezTo>
                  <a:cubicBezTo>
                    <a:pt x="10312" y="6138"/>
                    <a:pt x="10312" y="6138"/>
                    <a:pt x="10312" y="6138"/>
                  </a:cubicBezTo>
                  <a:cubicBezTo>
                    <a:pt x="10327" y="6231"/>
                    <a:pt x="10388" y="6280"/>
                    <a:pt x="10432" y="6315"/>
                  </a:cubicBezTo>
                  <a:cubicBezTo>
                    <a:pt x="10437" y="6319"/>
                    <a:pt x="10442" y="6323"/>
                    <a:pt x="10447" y="6328"/>
                  </a:cubicBezTo>
                  <a:cubicBezTo>
                    <a:pt x="10469" y="6346"/>
                    <a:pt x="10482" y="6365"/>
                    <a:pt x="10482" y="6380"/>
                  </a:cubicBezTo>
                  <a:cubicBezTo>
                    <a:pt x="10483" y="6397"/>
                    <a:pt x="10469" y="6414"/>
                    <a:pt x="10460" y="6423"/>
                  </a:cubicBezTo>
                  <a:cubicBezTo>
                    <a:pt x="10407" y="6477"/>
                    <a:pt x="10347" y="6525"/>
                    <a:pt x="10284" y="6576"/>
                  </a:cubicBezTo>
                  <a:cubicBezTo>
                    <a:pt x="10257" y="6598"/>
                    <a:pt x="10231" y="6620"/>
                    <a:pt x="10204" y="6642"/>
                  </a:cubicBezTo>
                  <a:cubicBezTo>
                    <a:pt x="10203" y="6642"/>
                    <a:pt x="10201" y="6642"/>
                    <a:pt x="10198" y="6642"/>
                  </a:cubicBezTo>
                  <a:cubicBezTo>
                    <a:pt x="10196" y="6642"/>
                    <a:pt x="10194" y="6641"/>
                    <a:pt x="10194" y="6641"/>
                  </a:cubicBezTo>
                  <a:cubicBezTo>
                    <a:pt x="10193" y="6640"/>
                    <a:pt x="10188" y="6635"/>
                    <a:pt x="10179" y="6618"/>
                  </a:cubicBezTo>
                  <a:cubicBezTo>
                    <a:pt x="10171" y="6603"/>
                    <a:pt x="10163" y="6587"/>
                    <a:pt x="10156" y="6572"/>
                  </a:cubicBezTo>
                  <a:cubicBezTo>
                    <a:pt x="10141" y="6541"/>
                    <a:pt x="10125" y="6510"/>
                    <a:pt x="10108" y="6478"/>
                  </a:cubicBezTo>
                  <a:cubicBezTo>
                    <a:pt x="10049" y="6371"/>
                    <a:pt x="9905" y="6331"/>
                    <a:pt x="9772" y="6384"/>
                  </a:cubicBezTo>
                  <a:cubicBezTo>
                    <a:pt x="9670" y="6426"/>
                    <a:pt x="9587" y="6463"/>
                    <a:pt x="9512" y="6503"/>
                  </a:cubicBezTo>
                  <a:cubicBezTo>
                    <a:pt x="9454" y="6533"/>
                    <a:pt x="9415" y="6576"/>
                    <a:pt x="9392" y="6634"/>
                  </a:cubicBezTo>
                  <a:cubicBezTo>
                    <a:pt x="9362" y="6709"/>
                    <a:pt x="9360" y="6783"/>
                    <a:pt x="9357" y="6849"/>
                  </a:cubicBezTo>
                  <a:cubicBezTo>
                    <a:pt x="9356" y="6875"/>
                    <a:pt x="9356" y="6875"/>
                    <a:pt x="9356" y="6875"/>
                  </a:cubicBezTo>
                  <a:cubicBezTo>
                    <a:pt x="9356" y="6883"/>
                    <a:pt x="9355" y="6888"/>
                    <a:pt x="9355" y="6891"/>
                  </a:cubicBezTo>
                  <a:cubicBezTo>
                    <a:pt x="9352" y="6891"/>
                    <a:pt x="9349" y="6891"/>
                    <a:pt x="9345" y="6891"/>
                  </a:cubicBezTo>
                  <a:cubicBezTo>
                    <a:pt x="9276" y="6888"/>
                    <a:pt x="9194" y="6882"/>
                    <a:pt x="9116" y="6864"/>
                  </a:cubicBezTo>
                  <a:cubicBezTo>
                    <a:pt x="9092" y="6858"/>
                    <a:pt x="9078" y="6838"/>
                    <a:pt x="9079" y="6823"/>
                  </a:cubicBezTo>
                  <a:cubicBezTo>
                    <a:pt x="9081" y="6815"/>
                    <a:pt x="9084" y="6803"/>
                    <a:pt x="9088" y="6790"/>
                  </a:cubicBezTo>
                  <a:cubicBezTo>
                    <a:pt x="9092" y="6776"/>
                    <a:pt x="9096" y="6763"/>
                    <a:pt x="9099" y="6750"/>
                  </a:cubicBezTo>
                  <a:cubicBezTo>
                    <a:pt x="9119" y="6663"/>
                    <a:pt x="9087" y="6537"/>
                    <a:pt x="8989" y="6475"/>
                  </a:cubicBezTo>
                  <a:cubicBezTo>
                    <a:pt x="8889" y="6412"/>
                    <a:pt x="8784" y="6354"/>
                    <a:pt x="8696" y="6306"/>
                  </a:cubicBezTo>
                  <a:cubicBezTo>
                    <a:pt x="8603" y="6256"/>
                    <a:pt x="8505" y="6260"/>
                    <a:pt x="8426" y="6317"/>
                  </a:cubicBezTo>
                  <a:cubicBezTo>
                    <a:pt x="8402" y="6333"/>
                    <a:pt x="8380" y="6350"/>
                    <a:pt x="8357" y="6368"/>
                  </a:cubicBezTo>
                  <a:cubicBezTo>
                    <a:pt x="8337" y="6383"/>
                    <a:pt x="8318" y="6398"/>
                    <a:pt x="8298" y="6412"/>
                  </a:cubicBezTo>
                  <a:cubicBezTo>
                    <a:pt x="8258" y="6441"/>
                    <a:pt x="8242" y="6449"/>
                    <a:pt x="8227" y="6448"/>
                  </a:cubicBezTo>
                  <a:cubicBezTo>
                    <a:pt x="8194" y="6418"/>
                    <a:pt x="8121" y="6321"/>
                    <a:pt x="8010" y="6160"/>
                  </a:cubicBezTo>
                  <a:cubicBezTo>
                    <a:pt x="8050" y="6138"/>
                    <a:pt x="8090" y="6114"/>
                    <a:pt x="8128" y="6088"/>
                  </a:cubicBezTo>
                  <a:cubicBezTo>
                    <a:pt x="8189" y="6046"/>
                    <a:pt x="8333" y="5948"/>
                    <a:pt x="8264" y="5746"/>
                  </a:cubicBezTo>
                  <a:cubicBezTo>
                    <a:pt x="8129" y="5350"/>
                    <a:pt x="8025" y="5337"/>
                    <a:pt x="7991" y="5333"/>
                  </a:cubicBezTo>
                  <a:cubicBezTo>
                    <a:pt x="7945" y="5327"/>
                    <a:pt x="7860" y="5331"/>
                    <a:pt x="7763" y="5336"/>
                  </a:cubicBezTo>
                  <a:cubicBezTo>
                    <a:pt x="7740" y="5338"/>
                    <a:pt x="7722" y="5339"/>
                    <a:pt x="7715" y="5339"/>
                  </a:cubicBezTo>
                  <a:cubicBezTo>
                    <a:pt x="7692" y="5339"/>
                    <a:pt x="7671" y="5331"/>
                    <a:pt x="7660" y="5317"/>
                  </a:cubicBezTo>
                  <a:cubicBezTo>
                    <a:pt x="7654" y="5311"/>
                    <a:pt x="7648" y="5301"/>
                    <a:pt x="7651" y="5279"/>
                  </a:cubicBezTo>
                  <a:cubicBezTo>
                    <a:pt x="7663" y="5188"/>
                    <a:pt x="7681" y="5095"/>
                    <a:pt x="7696" y="5017"/>
                  </a:cubicBezTo>
                  <a:cubicBezTo>
                    <a:pt x="7707" y="4963"/>
                    <a:pt x="7727" y="4962"/>
                    <a:pt x="7749" y="4961"/>
                  </a:cubicBezTo>
                  <a:cubicBezTo>
                    <a:pt x="7775" y="4960"/>
                    <a:pt x="7805" y="4965"/>
                    <a:pt x="7837" y="4971"/>
                  </a:cubicBezTo>
                  <a:cubicBezTo>
                    <a:pt x="7850" y="4973"/>
                    <a:pt x="7864" y="4976"/>
                    <a:pt x="7877" y="4978"/>
                  </a:cubicBezTo>
                  <a:cubicBezTo>
                    <a:pt x="8007" y="4997"/>
                    <a:pt x="8108" y="4950"/>
                    <a:pt x="8176" y="4836"/>
                  </a:cubicBezTo>
                  <a:cubicBezTo>
                    <a:pt x="8206" y="4787"/>
                    <a:pt x="8233" y="4737"/>
                    <a:pt x="8260" y="4685"/>
                  </a:cubicBezTo>
                  <a:cubicBezTo>
                    <a:pt x="8321" y="4572"/>
                    <a:pt x="8298" y="4457"/>
                    <a:pt x="8195" y="4361"/>
                  </a:cubicBezTo>
                  <a:cubicBezTo>
                    <a:pt x="8168" y="4336"/>
                    <a:pt x="8153" y="4307"/>
                    <a:pt x="8154" y="4283"/>
                  </a:cubicBezTo>
                  <a:cubicBezTo>
                    <a:pt x="8154" y="4274"/>
                    <a:pt x="8157" y="4260"/>
                    <a:pt x="8175" y="4246"/>
                  </a:cubicBezTo>
                  <a:cubicBezTo>
                    <a:pt x="8238" y="4197"/>
                    <a:pt x="8299" y="4145"/>
                    <a:pt x="8357" y="4094"/>
                  </a:cubicBezTo>
                  <a:cubicBezTo>
                    <a:pt x="8387" y="4069"/>
                    <a:pt x="8387" y="4069"/>
                    <a:pt x="8387" y="4069"/>
                  </a:cubicBezTo>
                  <a:cubicBezTo>
                    <a:pt x="8401" y="4056"/>
                    <a:pt x="8426" y="4051"/>
                    <a:pt x="8446" y="4055"/>
                  </a:cubicBezTo>
                  <a:cubicBezTo>
                    <a:pt x="8462" y="4059"/>
                    <a:pt x="8472" y="4068"/>
                    <a:pt x="8479" y="4084"/>
                  </a:cubicBezTo>
                  <a:cubicBezTo>
                    <a:pt x="8548" y="4246"/>
                    <a:pt x="8659" y="4280"/>
                    <a:pt x="8748" y="4291"/>
                  </a:cubicBezTo>
                  <a:cubicBezTo>
                    <a:pt x="8827" y="4301"/>
                    <a:pt x="8911" y="4251"/>
                    <a:pt x="9009" y="4193"/>
                  </a:cubicBezTo>
                  <a:cubicBezTo>
                    <a:pt x="9049" y="4169"/>
                    <a:pt x="9091" y="4144"/>
                    <a:pt x="9117" y="4134"/>
                  </a:cubicBezTo>
                  <a:cubicBezTo>
                    <a:pt x="9223" y="4094"/>
                    <a:pt x="9289" y="4009"/>
                    <a:pt x="9303" y="3895"/>
                  </a:cubicBezTo>
                  <a:cubicBezTo>
                    <a:pt x="9306" y="3874"/>
                    <a:pt x="9307" y="3852"/>
                    <a:pt x="9308" y="3832"/>
                  </a:cubicBezTo>
                  <a:cubicBezTo>
                    <a:pt x="9309" y="3814"/>
                    <a:pt x="9309" y="3814"/>
                    <a:pt x="9309" y="3814"/>
                  </a:cubicBezTo>
                  <a:cubicBezTo>
                    <a:pt x="9311" y="3790"/>
                    <a:pt x="9318" y="3772"/>
                    <a:pt x="9329" y="3763"/>
                  </a:cubicBezTo>
                  <a:cubicBezTo>
                    <a:pt x="9344" y="3750"/>
                    <a:pt x="9372" y="3751"/>
                    <a:pt x="9387" y="3753"/>
                  </a:cubicBezTo>
                  <a:cubicBezTo>
                    <a:pt x="9405" y="3755"/>
                    <a:pt x="9424" y="3760"/>
                    <a:pt x="9444" y="3764"/>
                  </a:cubicBezTo>
                  <a:cubicBezTo>
                    <a:pt x="9463" y="3768"/>
                    <a:pt x="9483" y="3773"/>
                    <a:pt x="9504" y="3776"/>
                  </a:cubicBezTo>
                  <a:cubicBezTo>
                    <a:pt x="9578" y="3788"/>
                    <a:pt x="9592" y="3800"/>
                    <a:pt x="9592" y="3801"/>
                  </a:cubicBezTo>
                  <a:cubicBezTo>
                    <a:pt x="9593" y="3802"/>
                    <a:pt x="9600" y="3817"/>
                    <a:pt x="9593" y="3883"/>
                  </a:cubicBezTo>
                  <a:cubicBezTo>
                    <a:pt x="9593" y="3889"/>
                    <a:pt x="9592" y="3895"/>
                    <a:pt x="9591" y="3901"/>
                  </a:cubicBezTo>
                  <a:cubicBezTo>
                    <a:pt x="9587" y="3927"/>
                    <a:pt x="9583" y="3960"/>
                    <a:pt x="9587" y="3998"/>
                  </a:cubicBezTo>
                  <a:cubicBezTo>
                    <a:pt x="9599" y="4095"/>
                    <a:pt x="9647" y="4149"/>
                    <a:pt x="9686" y="4178"/>
                  </a:cubicBezTo>
                  <a:cubicBezTo>
                    <a:pt x="9766" y="4238"/>
                    <a:pt x="9853" y="4293"/>
                    <a:pt x="9927" y="4341"/>
                  </a:cubicBezTo>
                  <a:cubicBezTo>
                    <a:pt x="10026" y="4404"/>
                    <a:pt x="10132" y="4403"/>
                    <a:pt x="10217" y="4339"/>
                  </a:cubicBezTo>
                  <a:cubicBezTo>
                    <a:pt x="10245" y="4317"/>
                    <a:pt x="10275" y="4294"/>
                    <a:pt x="10306" y="4268"/>
                  </a:cubicBezTo>
                  <a:cubicBezTo>
                    <a:pt x="10354" y="4229"/>
                    <a:pt x="10406" y="4197"/>
                    <a:pt x="10469" y="4172"/>
                  </a:cubicBezTo>
                  <a:cubicBezTo>
                    <a:pt x="10493" y="4211"/>
                    <a:pt x="10528" y="4262"/>
                    <a:pt x="10564" y="4316"/>
                  </a:cubicBezTo>
                  <a:cubicBezTo>
                    <a:pt x="10599" y="4368"/>
                    <a:pt x="10635" y="4421"/>
                    <a:pt x="10652" y="4449"/>
                  </a:cubicBezTo>
                  <a:cubicBezTo>
                    <a:pt x="10670" y="4481"/>
                    <a:pt x="10678" y="4509"/>
                    <a:pt x="10673" y="4524"/>
                  </a:cubicBezTo>
                  <a:close/>
                  <a:moveTo>
                    <a:pt x="15593" y="2600"/>
                  </a:moveTo>
                  <a:cubicBezTo>
                    <a:pt x="15663" y="2613"/>
                    <a:pt x="15732" y="2617"/>
                    <a:pt x="15799" y="2622"/>
                  </a:cubicBezTo>
                  <a:cubicBezTo>
                    <a:pt x="15850" y="2625"/>
                    <a:pt x="15897" y="2629"/>
                    <a:pt x="15944" y="2635"/>
                  </a:cubicBezTo>
                  <a:cubicBezTo>
                    <a:pt x="15974" y="2640"/>
                    <a:pt x="15998" y="2657"/>
                    <a:pt x="16009" y="2672"/>
                  </a:cubicBezTo>
                  <a:cubicBezTo>
                    <a:pt x="16013" y="2678"/>
                    <a:pt x="16015" y="2683"/>
                    <a:pt x="16014" y="2685"/>
                  </a:cubicBezTo>
                  <a:cubicBezTo>
                    <a:pt x="15994" y="2788"/>
                    <a:pt x="15977" y="2891"/>
                    <a:pt x="15961" y="2991"/>
                  </a:cubicBezTo>
                  <a:cubicBezTo>
                    <a:pt x="15948" y="3073"/>
                    <a:pt x="15935" y="3158"/>
                    <a:pt x="15919" y="3240"/>
                  </a:cubicBezTo>
                  <a:cubicBezTo>
                    <a:pt x="15915" y="3262"/>
                    <a:pt x="15906" y="3280"/>
                    <a:pt x="15894" y="3287"/>
                  </a:cubicBezTo>
                  <a:cubicBezTo>
                    <a:pt x="15879" y="3295"/>
                    <a:pt x="15858" y="3291"/>
                    <a:pt x="15843" y="3287"/>
                  </a:cubicBezTo>
                  <a:cubicBezTo>
                    <a:pt x="15807" y="3275"/>
                    <a:pt x="15772" y="3266"/>
                    <a:pt x="15737" y="3258"/>
                  </a:cubicBezTo>
                  <a:cubicBezTo>
                    <a:pt x="15714" y="3252"/>
                    <a:pt x="15690" y="3246"/>
                    <a:pt x="15666" y="3239"/>
                  </a:cubicBezTo>
                  <a:cubicBezTo>
                    <a:pt x="15561" y="3209"/>
                    <a:pt x="15463" y="3239"/>
                    <a:pt x="15390" y="3325"/>
                  </a:cubicBezTo>
                  <a:cubicBezTo>
                    <a:pt x="15370" y="3349"/>
                    <a:pt x="15356" y="3374"/>
                    <a:pt x="15343" y="3396"/>
                  </a:cubicBezTo>
                  <a:cubicBezTo>
                    <a:pt x="15340" y="3402"/>
                    <a:pt x="15336" y="3408"/>
                    <a:pt x="15333" y="3414"/>
                  </a:cubicBezTo>
                  <a:cubicBezTo>
                    <a:pt x="15312" y="3447"/>
                    <a:pt x="15292" y="3480"/>
                    <a:pt x="15271" y="3514"/>
                  </a:cubicBezTo>
                  <a:cubicBezTo>
                    <a:pt x="15218" y="3601"/>
                    <a:pt x="15163" y="3691"/>
                    <a:pt x="15111" y="3782"/>
                  </a:cubicBezTo>
                  <a:cubicBezTo>
                    <a:pt x="15019" y="3946"/>
                    <a:pt x="15098" y="4062"/>
                    <a:pt x="15181" y="4131"/>
                  </a:cubicBezTo>
                  <a:cubicBezTo>
                    <a:pt x="15238" y="4179"/>
                    <a:pt x="15296" y="4229"/>
                    <a:pt x="15352" y="4277"/>
                  </a:cubicBezTo>
                  <a:cubicBezTo>
                    <a:pt x="15405" y="4323"/>
                    <a:pt x="15405" y="4323"/>
                    <a:pt x="15405" y="4323"/>
                  </a:cubicBezTo>
                  <a:cubicBezTo>
                    <a:pt x="15428" y="4342"/>
                    <a:pt x="15436" y="4358"/>
                    <a:pt x="15437" y="4365"/>
                  </a:cubicBezTo>
                  <a:cubicBezTo>
                    <a:pt x="15437" y="4373"/>
                    <a:pt x="15430" y="4389"/>
                    <a:pt x="15409" y="4410"/>
                  </a:cubicBezTo>
                  <a:cubicBezTo>
                    <a:pt x="15375" y="4446"/>
                    <a:pt x="15341" y="4482"/>
                    <a:pt x="15306" y="4519"/>
                  </a:cubicBezTo>
                  <a:cubicBezTo>
                    <a:pt x="15236" y="4592"/>
                    <a:pt x="15164" y="4669"/>
                    <a:pt x="15091" y="4741"/>
                  </a:cubicBezTo>
                  <a:cubicBezTo>
                    <a:pt x="15034" y="4797"/>
                    <a:pt x="15007" y="4778"/>
                    <a:pt x="14975" y="4746"/>
                  </a:cubicBezTo>
                  <a:cubicBezTo>
                    <a:pt x="14948" y="4718"/>
                    <a:pt x="14948" y="4718"/>
                    <a:pt x="14948" y="4718"/>
                  </a:cubicBezTo>
                  <a:cubicBezTo>
                    <a:pt x="14890" y="4660"/>
                    <a:pt x="14835" y="4605"/>
                    <a:pt x="14785" y="4546"/>
                  </a:cubicBezTo>
                  <a:cubicBezTo>
                    <a:pt x="14673" y="4415"/>
                    <a:pt x="14550" y="4412"/>
                    <a:pt x="14467" y="4433"/>
                  </a:cubicBezTo>
                  <a:cubicBezTo>
                    <a:pt x="14440" y="4440"/>
                    <a:pt x="14415" y="4448"/>
                    <a:pt x="14392" y="4456"/>
                  </a:cubicBezTo>
                  <a:cubicBezTo>
                    <a:pt x="14377" y="4461"/>
                    <a:pt x="14362" y="4467"/>
                    <a:pt x="14347" y="4471"/>
                  </a:cubicBezTo>
                  <a:cubicBezTo>
                    <a:pt x="14264" y="4495"/>
                    <a:pt x="14181" y="4522"/>
                    <a:pt x="14101" y="4547"/>
                  </a:cubicBezTo>
                  <a:cubicBezTo>
                    <a:pt x="14045" y="4565"/>
                    <a:pt x="13989" y="4583"/>
                    <a:pt x="13933" y="4600"/>
                  </a:cubicBezTo>
                  <a:cubicBezTo>
                    <a:pt x="13792" y="4643"/>
                    <a:pt x="13719" y="4753"/>
                    <a:pt x="13736" y="4894"/>
                  </a:cubicBezTo>
                  <a:cubicBezTo>
                    <a:pt x="13739" y="4917"/>
                    <a:pt x="13742" y="4940"/>
                    <a:pt x="13745" y="4962"/>
                  </a:cubicBezTo>
                  <a:cubicBezTo>
                    <a:pt x="13753" y="5013"/>
                    <a:pt x="13760" y="5061"/>
                    <a:pt x="13760" y="5108"/>
                  </a:cubicBezTo>
                  <a:cubicBezTo>
                    <a:pt x="13761" y="5143"/>
                    <a:pt x="13748" y="5154"/>
                    <a:pt x="13735" y="5162"/>
                  </a:cubicBezTo>
                  <a:cubicBezTo>
                    <a:pt x="13723" y="5169"/>
                    <a:pt x="13704" y="5170"/>
                    <a:pt x="13674" y="5170"/>
                  </a:cubicBezTo>
                  <a:cubicBezTo>
                    <a:pt x="13662" y="5170"/>
                    <a:pt x="13650" y="5171"/>
                    <a:pt x="13638" y="5172"/>
                  </a:cubicBezTo>
                  <a:cubicBezTo>
                    <a:pt x="13550" y="5177"/>
                    <a:pt x="13459" y="5180"/>
                    <a:pt x="13372" y="5182"/>
                  </a:cubicBezTo>
                  <a:cubicBezTo>
                    <a:pt x="13321" y="5184"/>
                    <a:pt x="13270" y="5185"/>
                    <a:pt x="13219" y="5187"/>
                  </a:cubicBezTo>
                  <a:cubicBezTo>
                    <a:pt x="13205" y="5188"/>
                    <a:pt x="13190" y="5182"/>
                    <a:pt x="13180" y="5171"/>
                  </a:cubicBezTo>
                  <a:cubicBezTo>
                    <a:pt x="13174" y="5164"/>
                    <a:pt x="13164" y="5149"/>
                    <a:pt x="13167" y="5127"/>
                  </a:cubicBezTo>
                  <a:cubicBezTo>
                    <a:pt x="13171" y="5090"/>
                    <a:pt x="13177" y="5054"/>
                    <a:pt x="13182" y="5019"/>
                  </a:cubicBezTo>
                  <a:cubicBezTo>
                    <a:pt x="13189" y="4972"/>
                    <a:pt x="13196" y="4924"/>
                    <a:pt x="13202" y="4875"/>
                  </a:cubicBezTo>
                  <a:cubicBezTo>
                    <a:pt x="13215" y="4765"/>
                    <a:pt x="13173" y="4672"/>
                    <a:pt x="13086" y="4621"/>
                  </a:cubicBezTo>
                  <a:cubicBezTo>
                    <a:pt x="12987" y="4561"/>
                    <a:pt x="12887" y="4506"/>
                    <a:pt x="12789" y="4457"/>
                  </a:cubicBezTo>
                  <a:cubicBezTo>
                    <a:pt x="12761" y="4443"/>
                    <a:pt x="12734" y="4429"/>
                    <a:pt x="12706" y="4415"/>
                  </a:cubicBezTo>
                  <a:cubicBezTo>
                    <a:pt x="12622" y="4371"/>
                    <a:pt x="12535" y="4326"/>
                    <a:pt x="12443" y="4289"/>
                  </a:cubicBezTo>
                  <a:cubicBezTo>
                    <a:pt x="12438" y="4287"/>
                    <a:pt x="12438" y="4287"/>
                    <a:pt x="12438" y="4287"/>
                  </a:cubicBezTo>
                  <a:cubicBezTo>
                    <a:pt x="12360" y="4256"/>
                    <a:pt x="12296" y="4267"/>
                    <a:pt x="12247" y="4320"/>
                  </a:cubicBezTo>
                  <a:cubicBezTo>
                    <a:pt x="12223" y="4347"/>
                    <a:pt x="12199" y="4373"/>
                    <a:pt x="12174" y="4399"/>
                  </a:cubicBezTo>
                  <a:cubicBezTo>
                    <a:pt x="12130" y="4447"/>
                    <a:pt x="12084" y="4497"/>
                    <a:pt x="12040" y="4547"/>
                  </a:cubicBezTo>
                  <a:cubicBezTo>
                    <a:pt x="11996" y="4597"/>
                    <a:pt x="11965" y="4589"/>
                    <a:pt x="11929" y="4559"/>
                  </a:cubicBezTo>
                  <a:cubicBezTo>
                    <a:pt x="11907" y="4540"/>
                    <a:pt x="11875" y="4515"/>
                    <a:pt x="11838" y="4486"/>
                  </a:cubicBezTo>
                  <a:cubicBezTo>
                    <a:pt x="11758" y="4425"/>
                    <a:pt x="11517" y="4239"/>
                    <a:pt x="11497" y="4167"/>
                  </a:cubicBezTo>
                  <a:cubicBezTo>
                    <a:pt x="11499" y="4143"/>
                    <a:pt x="11518" y="4119"/>
                    <a:pt x="11563" y="4068"/>
                  </a:cubicBezTo>
                  <a:cubicBezTo>
                    <a:pt x="11609" y="4016"/>
                    <a:pt x="11669" y="3947"/>
                    <a:pt x="11714" y="3845"/>
                  </a:cubicBezTo>
                  <a:cubicBezTo>
                    <a:pt x="11717" y="3840"/>
                    <a:pt x="11721" y="3835"/>
                    <a:pt x="11724" y="3830"/>
                  </a:cubicBezTo>
                  <a:cubicBezTo>
                    <a:pt x="11764" y="3757"/>
                    <a:pt x="11766" y="3639"/>
                    <a:pt x="11727" y="3556"/>
                  </a:cubicBezTo>
                  <a:cubicBezTo>
                    <a:pt x="11725" y="3553"/>
                    <a:pt x="11542" y="3169"/>
                    <a:pt x="11522" y="3143"/>
                  </a:cubicBezTo>
                  <a:cubicBezTo>
                    <a:pt x="11470" y="3075"/>
                    <a:pt x="11396" y="3040"/>
                    <a:pt x="11303" y="3038"/>
                  </a:cubicBezTo>
                  <a:cubicBezTo>
                    <a:pt x="11254" y="3037"/>
                    <a:pt x="11204" y="3036"/>
                    <a:pt x="11155" y="3034"/>
                  </a:cubicBezTo>
                  <a:cubicBezTo>
                    <a:pt x="11081" y="3032"/>
                    <a:pt x="11005" y="3029"/>
                    <a:pt x="10930" y="3029"/>
                  </a:cubicBezTo>
                  <a:cubicBezTo>
                    <a:pt x="10913" y="3029"/>
                    <a:pt x="10900" y="3017"/>
                    <a:pt x="10896" y="3012"/>
                  </a:cubicBezTo>
                  <a:cubicBezTo>
                    <a:pt x="10885" y="3000"/>
                    <a:pt x="10879" y="2984"/>
                    <a:pt x="10880" y="2970"/>
                  </a:cubicBezTo>
                  <a:cubicBezTo>
                    <a:pt x="10888" y="2894"/>
                    <a:pt x="10896" y="2818"/>
                    <a:pt x="10903" y="2741"/>
                  </a:cubicBezTo>
                  <a:cubicBezTo>
                    <a:pt x="10916" y="2611"/>
                    <a:pt x="10929" y="2475"/>
                    <a:pt x="10947" y="2344"/>
                  </a:cubicBezTo>
                  <a:cubicBezTo>
                    <a:pt x="10950" y="2324"/>
                    <a:pt x="10958" y="2309"/>
                    <a:pt x="10971" y="2300"/>
                  </a:cubicBezTo>
                  <a:cubicBezTo>
                    <a:pt x="10985" y="2290"/>
                    <a:pt x="11005" y="2287"/>
                    <a:pt x="11025" y="2291"/>
                  </a:cubicBezTo>
                  <a:cubicBezTo>
                    <a:pt x="11079" y="2303"/>
                    <a:pt x="11134" y="2317"/>
                    <a:pt x="11188" y="2330"/>
                  </a:cubicBezTo>
                  <a:cubicBezTo>
                    <a:pt x="11214" y="2336"/>
                    <a:pt x="11240" y="2343"/>
                    <a:pt x="11266" y="2349"/>
                  </a:cubicBezTo>
                  <a:cubicBezTo>
                    <a:pt x="11384" y="2377"/>
                    <a:pt x="11502" y="2329"/>
                    <a:pt x="11566" y="2225"/>
                  </a:cubicBezTo>
                  <a:cubicBezTo>
                    <a:pt x="11584" y="2196"/>
                    <a:pt x="11602" y="2168"/>
                    <a:pt x="11619" y="2139"/>
                  </a:cubicBezTo>
                  <a:cubicBezTo>
                    <a:pt x="11673" y="2053"/>
                    <a:pt x="11728" y="1964"/>
                    <a:pt x="11785" y="1880"/>
                  </a:cubicBezTo>
                  <a:cubicBezTo>
                    <a:pt x="11900" y="1713"/>
                    <a:pt x="11875" y="1556"/>
                    <a:pt x="11716" y="1438"/>
                  </a:cubicBezTo>
                  <a:cubicBezTo>
                    <a:pt x="11670" y="1403"/>
                    <a:pt x="11622" y="1364"/>
                    <a:pt x="11565" y="1315"/>
                  </a:cubicBezTo>
                  <a:cubicBezTo>
                    <a:pt x="11554" y="1304"/>
                    <a:pt x="11540" y="1288"/>
                    <a:pt x="11539" y="1270"/>
                  </a:cubicBezTo>
                  <a:cubicBezTo>
                    <a:pt x="11538" y="1255"/>
                    <a:pt x="11547" y="1238"/>
                    <a:pt x="11564" y="1221"/>
                  </a:cubicBezTo>
                  <a:cubicBezTo>
                    <a:pt x="11613" y="1171"/>
                    <a:pt x="11613" y="1171"/>
                    <a:pt x="11613" y="1171"/>
                  </a:cubicBezTo>
                  <a:cubicBezTo>
                    <a:pt x="11724" y="1060"/>
                    <a:pt x="11839" y="944"/>
                    <a:pt x="11947" y="825"/>
                  </a:cubicBezTo>
                  <a:cubicBezTo>
                    <a:pt x="11963" y="808"/>
                    <a:pt x="11977" y="800"/>
                    <a:pt x="11991" y="800"/>
                  </a:cubicBezTo>
                  <a:cubicBezTo>
                    <a:pt x="11991" y="800"/>
                    <a:pt x="11991" y="800"/>
                    <a:pt x="11991" y="800"/>
                  </a:cubicBezTo>
                  <a:cubicBezTo>
                    <a:pt x="12006" y="800"/>
                    <a:pt x="12024" y="809"/>
                    <a:pt x="12037" y="824"/>
                  </a:cubicBezTo>
                  <a:cubicBezTo>
                    <a:pt x="12065" y="855"/>
                    <a:pt x="12095" y="886"/>
                    <a:pt x="12124" y="917"/>
                  </a:cubicBezTo>
                  <a:cubicBezTo>
                    <a:pt x="12154" y="950"/>
                    <a:pt x="12184" y="982"/>
                    <a:pt x="12214" y="1015"/>
                  </a:cubicBezTo>
                  <a:cubicBezTo>
                    <a:pt x="12295" y="1105"/>
                    <a:pt x="12412" y="1132"/>
                    <a:pt x="12520" y="1087"/>
                  </a:cubicBezTo>
                  <a:cubicBezTo>
                    <a:pt x="12671" y="1023"/>
                    <a:pt x="12838" y="959"/>
                    <a:pt x="13028" y="891"/>
                  </a:cubicBezTo>
                  <a:cubicBezTo>
                    <a:pt x="13137" y="851"/>
                    <a:pt x="13207" y="769"/>
                    <a:pt x="13214" y="670"/>
                  </a:cubicBezTo>
                  <a:cubicBezTo>
                    <a:pt x="13217" y="634"/>
                    <a:pt x="13220" y="601"/>
                    <a:pt x="13223" y="570"/>
                  </a:cubicBezTo>
                  <a:cubicBezTo>
                    <a:pt x="13231" y="491"/>
                    <a:pt x="13238" y="417"/>
                    <a:pt x="13234" y="318"/>
                  </a:cubicBezTo>
                  <a:cubicBezTo>
                    <a:pt x="13232" y="280"/>
                    <a:pt x="13242" y="249"/>
                    <a:pt x="13261" y="233"/>
                  </a:cubicBezTo>
                  <a:cubicBezTo>
                    <a:pt x="13272" y="224"/>
                    <a:pt x="13286" y="221"/>
                    <a:pt x="13302" y="224"/>
                  </a:cubicBezTo>
                  <a:cubicBezTo>
                    <a:pt x="13321" y="228"/>
                    <a:pt x="13364" y="232"/>
                    <a:pt x="13491" y="243"/>
                  </a:cubicBezTo>
                  <a:cubicBezTo>
                    <a:pt x="13600" y="253"/>
                    <a:pt x="13802" y="270"/>
                    <a:pt x="13835" y="278"/>
                  </a:cubicBezTo>
                  <a:cubicBezTo>
                    <a:pt x="13875" y="290"/>
                    <a:pt x="13880" y="309"/>
                    <a:pt x="13877" y="338"/>
                  </a:cubicBezTo>
                  <a:cubicBezTo>
                    <a:pt x="13868" y="431"/>
                    <a:pt x="13856" y="522"/>
                    <a:pt x="13841" y="630"/>
                  </a:cubicBezTo>
                  <a:cubicBezTo>
                    <a:pt x="13824" y="765"/>
                    <a:pt x="13879" y="872"/>
                    <a:pt x="13997" y="932"/>
                  </a:cubicBezTo>
                  <a:cubicBezTo>
                    <a:pt x="14020" y="944"/>
                    <a:pt x="14043" y="957"/>
                    <a:pt x="14067" y="971"/>
                  </a:cubicBezTo>
                  <a:cubicBezTo>
                    <a:pt x="14077" y="977"/>
                    <a:pt x="14088" y="983"/>
                    <a:pt x="14098" y="989"/>
                  </a:cubicBezTo>
                  <a:cubicBezTo>
                    <a:pt x="14191" y="1041"/>
                    <a:pt x="14191" y="1041"/>
                    <a:pt x="14191" y="1041"/>
                  </a:cubicBezTo>
                  <a:cubicBezTo>
                    <a:pt x="14263" y="1082"/>
                    <a:pt x="14335" y="1122"/>
                    <a:pt x="14408" y="1163"/>
                  </a:cubicBezTo>
                  <a:cubicBezTo>
                    <a:pt x="14511" y="1220"/>
                    <a:pt x="14646" y="1208"/>
                    <a:pt x="14722" y="1135"/>
                  </a:cubicBezTo>
                  <a:cubicBezTo>
                    <a:pt x="14809" y="1052"/>
                    <a:pt x="14904" y="974"/>
                    <a:pt x="14996" y="897"/>
                  </a:cubicBezTo>
                  <a:cubicBezTo>
                    <a:pt x="15046" y="856"/>
                    <a:pt x="15046" y="856"/>
                    <a:pt x="15046" y="856"/>
                  </a:cubicBezTo>
                  <a:cubicBezTo>
                    <a:pt x="15067" y="838"/>
                    <a:pt x="15088" y="826"/>
                    <a:pt x="15123" y="863"/>
                  </a:cubicBezTo>
                  <a:cubicBezTo>
                    <a:pt x="15154" y="895"/>
                    <a:pt x="15180" y="934"/>
                    <a:pt x="15209" y="976"/>
                  </a:cubicBezTo>
                  <a:cubicBezTo>
                    <a:pt x="15223" y="997"/>
                    <a:pt x="15237" y="1019"/>
                    <a:pt x="15253" y="1039"/>
                  </a:cubicBezTo>
                  <a:cubicBezTo>
                    <a:pt x="15305" y="1111"/>
                    <a:pt x="15422" y="1282"/>
                    <a:pt x="15486" y="1377"/>
                  </a:cubicBezTo>
                  <a:cubicBezTo>
                    <a:pt x="15403" y="1448"/>
                    <a:pt x="15342" y="1554"/>
                    <a:pt x="15298" y="1729"/>
                  </a:cubicBezTo>
                  <a:cubicBezTo>
                    <a:pt x="15260" y="1882"/>
                    <a:pt x="15291" y="2227"/>
                    <a:pt x="15322" y="2325"/>
                  </a:cubicBezTo>
                  <a:cubicBezTo>
                    <a:pt x="15358" y="2440"/>
                    <a:pt x="15448" y="2572"/>
                    <a:pt x="15593" y="260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AC5F155E-D454-2B0F-E5B7-FC58811AB8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" y="1840"/>
              <a:ext cx="632" cy="649"/>
            </a:xfrm>
            <a:custGeom>
              <a:avLst/>
              <a:gdLst>
                <a:gd name="T0" fmla="*/ 611 w 1964"/>
                <a:gd name="T1" fmla="*/ 200 h 2013"/>
                <a:gd name="T2" fmla="*/ 95 w 1964"/>
                <a:gd name="T3" fmla="*/ 714 h 2013"/>
                <a:gd name="T4" fmla="*/ 101 w 1964"/>
                <a:gd name="T5" fmla="*/ 1433 h 2013"/>
                <a:gd name="T6" fmla="*/ 988 w 1964"/>
                <a:gd name="T7" fmla="*/ 2013 h 2013"/>
                <a:gd name="T8" fmla="*/ 1353 w 1964"/>
                <a:gd name="T9" fmla="*/ 1941 h 2013"/>
                <a:gd name="T10" fmla="*/ 1869 w 1964"/>
                <a:gd name="T11" fmla="*/ 1426 h 2013"/>
                <a:gd name="T12" fmla="*/ 1863 w 1964"/>
                <a:gd name="T13" fmla="*/ 707 h 2013"/>
                <a:gd name="T14" fmla="*/ 611 w 1964"/>
                <a:gd name="T15" fmla="*/ 200 h 2013"/>
                <a:gd name="T16" fmla="*/ 1673 w 1964"/>
                <a:gd name="T17" fmla="*/ 1346 h 2013"/>
                <a:gd name="T18" fmla="*/ 1272 w 1964"/>
                <a:gd name="T19" fmla="*/ 1745 h 2013"/>
                <a:gd name="T20" fmla="*/ 296 w 1964"/>
                <a:gd name="T21" fmla="*/ 1350 h 2013"/>
                <a:gd name="T22" fmla="*/ 291 w 1964"/>
                <a:gd name="T23" fmla="*/ 794 h 2013"/>
                <a:gd name="T24" fmla="*/ 691 w 1964"/>
                <a:gd name="T25" fmla="*/ 396 h 2013"/>
                <a:gd name="T26" fmla="*/ 977 w 1964"/>
                <a:gd name="T27" fmla="*/ 339 h 2013"/>
                <a:gd name="T28" fmla="*/ 1668 w 1964"/>
                <a:gd name="T29" fmla="*/ 790 h 2013"/>
                <a:gd name="T30" fmla="*/ 1673 w 1964"/>
                <a:gd name="T31" fmla="*/ 1346 h 2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4" h="2013">
                  <a:moveTo>
                    <a:pt x="611" y="200"/>
                  </a:moveTo>
                  <a:cubicBezTo>
                    <a:pt x="374" y="297"/>
                    <a:pt x="191" y="480"/>
                    <a:pt x="95" y="714"/>
                  </a:cubicBezTo>
                  <a:cubicBezTo>
                    <a:pt x="0" y="946"/>
                    <a:pt x="2" y="1202"/>
                    <a:pt x="101" y="1433"/>
                  </a:cubicBezTo>
                  <a:cubicBezTo>
                    <a:pt x="256" y="1795"/>
                    <a:pt x="613" y="2013"/>
                    <a:pt x="988" y="2013"/>
                  </a:cubicBezTo>
                  <a:cubicBezTo>
                    <a:pt x="1110" y="2013"/>
                    <a:pt x="1234" y="1990"/>
                    <a:pt x="1353" y="1941"/>
                  </a:cubicBezTo>
                  <a:cubicBezTo>
                    <a:pt x="1590" y="1843"/>
                    <a:pt x="1773" y="1661"/>
                    <a:pt x="1869" y="1426"/>
                  </a:cubicBezTo>
                  <a:cubicBezTo>
                    <a:pt x="1964" y="1194"/>
                    <a:pt x="1962" y="938"/>
                    <a:pt x="1863" y="707"/>
                  </a:cubicBezTo>
                  <a:cubicBezTo>
                    <a:pt x="1657" y="228"/>
                    <a:pt x="1096" y="0"/>
                    <a:pt x="611" y="200"/>
                  </a:cubicBezTo>
                  <a:close/>
                  <a:moveTo>
                    <a:pt x="1673" y="1346"/>
                  </a:moveTo>
                  <a:cubicBezTo>
                    <a:pt x="1598" y="1528"/>
                    <a:pt x="1456" y="1669"/>
                    <a:pt x="1272" y="1745"/>
                  </a:cubicBezTo>
                  <a:cubicBezTo>
                    <a:pt x="894" y="1900"/>
                    <a:pt x="456" y="1723"/>
                    <a:pt x="296" y="1350"/>
                  </a:cubicBezTo>
                  <a:cubicBezTo>
                    <a:pt x="219" y="1171"/>
                    <a:pt x="217" y="974"/>
                    <a:pt x="291" y="794"/>
                  </a:cubicBezTo>
                  <a:cubicBezTo>
                    <a:pt x="365" y="613"/>
                    <a:pt x="507" y="471"/>
                    <a:pt x="691" y="396"/>
                  </a:cubicBezTo>
                  <a:cubicBezTo>
                    <a:pt x="784" y="357"/>
                    <a:pt x="881" y="339"/>
                    <a:pt x="977" y="339"/>
                  </a:cubicBezTo>
                  <a:cubicBezTo>
                    <a:pt x="1269" y="339"/>
                    <a:pt x="1547" y="509"/>
                    <a:pt x="1668" y="790"/>
                  </a:cubicBezTo>
                  <a:cubicBezTo>
                    <a:pt x="1744" y="969"/>
                    <a:pt x="1746" y="1167"/>
                    <a:pt x="1673" y="13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id="{DA711104-C48A-BA0A-E164-70062A22EE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73" y="781"/>
              <a:ext cx="1089" cy="1109"/>
            </a:xfrm>
            <a:custGeom>
              <a:avLst/>
              <a:gdLst>
                <a:gd name="T0" fmla="*/ 1055 w 3380"/>
                <a:gd name="T1" fmla="*/ 344 h 3444"/>
                <a:gd name="T2" fmla="*/ 162 w 3380"/>
                <a:gd name="T3" fmla="*/ 1232 h 3444"/>
                <a:gd name="T4" fmla="*/ 172 w 3380"/>
                <a:gd name="T5" fmla="*/ 2456 h 3444"/>
                <a:gd name="T6" fmla="*/ 1691 w 3380"/>
                <a:gd name="T7" fmla="*/ 3444 h 3444"/>
                <a:gd name="T8" fmla="*/ 2325 w 3380"/>
                <a:gd name="T9" fmla="*/ 3319 h 3444"/>
                <a:gd name="T10" fmla="*/ 3218 w 3380"/>
                <a:gd name="T11" fmla="*/ 2430 h 3444"/>
                <a:gd name="T12" fmla="*/ 3209 w 3380"/>
                <a:gd name="T13" fmla="*/ 1206 h 3444"/>
                <a:gd name="T14" fmla="*/ 1055 w 3380"/>
                <a:gd name="T15" fmla="*/ 344 h 3444"/>
                <a:gd name="T16" fmla="*/ 3022 w 3380"/>
                <a:gd name="T17" fmla="*/ 2350 h 3444"/>
                <a:gd name="T18" fmla="*/ 2245 w 3380"/>
                <a:gd name="T19" fmla="*/ 3123 h 3444"/>
                <a:gd name="T20" fmla="*/ 366 w 3380"/>
                <a:gd name="T21" fmla="*/ 2373 h 3444"/>
                <a:gd name="T22" fmla="*/ 358 w 3380"/>
                <a:gd name="T23" fmla="*/ 1313 h 3444"/>
                <a:gd name="T24" fmla="*/ 1135 w 3380"/>
                <a:gd name="T25" fmla="*/ 540 h 3444"/>
                <a:gd name="T26" fmla="*/ 1690 w 3380"/>
                <a:gd name="T27" fmla="*/ 430 h 3444"/>
                <a:gd name="T28" fmla="*/ 3014 w 3380"/>
                <a:gd name="T29" fmla="*/ 1289 h 3444"/>
                <a:gd name="T30" fmla="*/ 3014 w 3380"/>
                <a:gd name="T31" fmla="*/ 1289 h 3444"/>
                <a:gd name="T32" fmla="*/ 3022 w 3380"/>
                <a:gd name="T33" fmla="*/ 2350 h 3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380" h="3444">
                  <a:moveTo>
                    <a:pt x="1055" y="344"/>
                  </a:moveTo>
                  <a:cubicBezTo>
                    <a:pt x="644" y="512"/>
                    <a:pt x="327" y="828"/>
                    <a:pt x="162" y="1232"/>
                  </a:cubicBezTo>
                  <a:cubicBezTo>
                    <a:pt x="0" y="1628"/>
                    <a:pt x="3" y="2063"/>
                    <a:pt x="172" y="2456"/>
                  </a:cubicBezTo>
                  <a:cubicBezTo>
                    <a:pt x="436" y="3073"/>
                    <a:pt x="1048" y="3444"/>
                    <a:pt x="1691" y="3444"/>
                  </a:cubicBezTo>
                  <a:cubicBezTo>
                    <a:pt x="1903" y="3444"/>
                    <a:pt x="2118" y="3404"/>
                    <a:pt x="2325" y="3319"/>
                  </a:cubicBezTo>
                  <a:cubicBezTo>
                    <a:pt x="2736" y="3150"/>
                    <a:pt x="3053" y="2835"/>
                    <a:pt x="3218" y="2430"/>
                  </a:cubicBezTo>
                  <a:cubicBezTo>
                    <a:pt x="3380" y="2034"/>
                    <a:pt x="3377" y="1599"/>
                    <a:pt x="3209" y="1206"/>
                  </a:cubicBezTo>
                  <a:cubicBezTo>
                    <a:pt x="2858" y="387"/>
                    <a:pt x="1892" y="0"/>
                    <a:pt x="1055" y="344"/>
                  </a:cubicBezTo>
                  <a:close/>
                  <a:moveTo>
                    <a:pt x="3022" y="2350"/>
                  </a:moveTo>
                  <a:cubicBezTo>
                    <a:pt x="2878" y="2701"/>
                    <a:pt x="2602" y="2976"/>
                    <a:pt x="2245" y="3123"/>
                  </a:cubicBezTo>
                  <a:cubicBezTo>
                    <a:pt x="1515" y="3422"/>
                    <a:pt x="672" y="3086"/>
                    <a:pt x="366" y="2373"/>
                  </a:cubicBezTo>
                  <a:cubicBezTo>
                    <a:pt x="221" y="2032"/>
                    <a:pt x="218" y="1656"/>
                    <a:pt x="358" y="1313"/>
                  </a:cubicBezTo>
                  <a:cubicBezTo>
                    <a:pt x="502" y="961"/>
                    <a:pt x="778" y="686"/>
                    <a:pt x="1135" y="540"/>
                  </a:cubicBezTo>
                  <a:cubicBezTo>
                    <a:pt x="1317" y="465"/>
                    <a:pt x="1505" y="430"/>
                    <a:pt x="1690" y="430"/>
                  </a:cubicBezTo>
                  <a:cubicBezTo>
                    <a:pt x="2251" y="430"/>
                    <a:pt x="2784" y="753"/>
                    <a:pt x="3014" y="1289"/>
                  </a:cubicBezTo>
                  <a:cubicBezTo>
                    <a:pt x="3014" y="1289"/>
                    <a:pt x="3014" y="1289"/>
                    <a:pt x="3014" y="1289"/>
                  </a:cubicBezTo>
                  <a:cubicBezTo>
                    <a:pt x="3160" y="1630"/>
                    <a:pt x="3163" y="2007"/>
                    <a:pt x="3022" y="23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3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429704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0.xml><?xml version="1.0" encoding="utf-8"?>
<a:theme xmlns:a="http://schemas.openxmlformats.org/drawingml/2006/main" name="4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lIns="54000" tIns="54000" rIns="54000" bIns="54000" rtlCol="0" anchor="t" anchorCtr="0"/>
      <a:lstStyle>
        <a:defPPr algn="l">
          <a:defRPr sz="1000" b="1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1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12.xml><?xml version="1.0" encoding="utf-8"?>
<a:theme xmlns:a="http://schemas.openxmlformats.org/drawingml/2006/main" name="6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3.xml><?xml version="1.0" encoding="utf-8"?>
<a:theme xmlns:a="http://schemas.openxmlformats.org/drawingml/2006/main" name="9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14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3.xml><?xml version="1.0" encoding="utf-8"?>
<a:theme xmlns:a="http://schemas.openxmlformats.org/drawingml/2006/main" name="7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4.xml><?xml version="1.0" encoding="utf-8"?>
<a:theme xmlns:a="http://schemas.openxmlformats.org/drawingml/2006/main" name="7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5.xml><?xml version="1.0" encoding="utf-8"?>
<a:theme xmlns:a="http://schemas.openxmlformats.org/drawingml/2006/main" name="3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6.xml><?xml version="1.0" encoding="utf-8"?>
<a:theme xmlns:a="http://schemas.openxmlformats.org/drawingml/2006/main" name="9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ppt/theme/theme7.xml><?xml version="1.0" encoding="utf-8"?>
<a:theme xmlns:a="http://schemas.openxmlformats.org/drawingml/2006/main" name="3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8.xml><?xml version="1.0" encoding="utf-8"?>
<a:theme xmlns:a="http://schemas.openxmlformats.org/drawingml/2006/main" name="1_Tata Zeremis PPT Theme">
  <a:themeElements>
    <a:clrScheme name="Zeremis colour theme">
      <a:dk1>
        <a:srgbClr val="000000"/>
      </a:dk1>
      <a:lt1>
        <a:sysClr val="window" lastClr="FFFFFF"/>
      </a:lt1>
      <a:dk2>
        <a:srgbClr val="BEB7A6"/>
      </a:dk2>
      <a:lt2>
        <a:srgbClr val="EFEDE9"/>
      </a:lt2>
      <a:accent1>
        <a:srgbClr val="34B233"/>
      </a:accent1>
      <a:accent2>
        <a:srgbClr val="9DEA20"/>
      </a:accent2>
      <a:accent3>
        <a:srgbClr val="3D7EDB"/>
      </a:accent3>
      <a:accent4>
        <a:srgbClr val="F7931E"/>
      </a:accent4>
      <a:accent5>
        <a:srgbClr val="ED1A3B"/>
      </a:accent5>
      <a:accent6>
        <a:srgbClr val="002B45"/>
      </a:accent6>
      <a:hlink>
        <a:srgbClr val="3D7EDB"/>
      </a:hlink>
      <a:folHlink>
        <a:srgbClr val="4C004F"/>
      </a:folHlink>
    </a:clrScheme>
    <a:fontScheme name="Zeremis font them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54000" tIns="54000" rIns="54000" bIns="54000" rtlCol="0" anchor="t" anchorCtr="0"/>
      <a:lstStyle>
        <a:defPPr algn="l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Tata Steel Zeremis PowerPoint template.potx" id="{E1C1BB3E-8B8D-4433-87FD-18592A772549}" vid="{97DD586B-47CA-4322-BF55-D1A48E835714}"/>
    </a:ext>
  </a:extLst>
</a:theme>
</file>

<file path=ppt/theme/theme9.xml><?xml version="1.0" encoding="utf-8"?>
<a:theme xmlns:a="http://schemas.openxmlformats.org/drawingml/2006/main" name="4_Custom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D7EDB"/>
      </a:accent1>
      <a:accent2>
        <a:srgbClr val="002B45"/>
      </a:accent2>
      <a:accent3>
        <a:srgbClr val="BEB9A6"/>
      </a:accent3>
      <a:accent4>
        <a:srgbClr val="FFA100"/>
      </a:accent4>
      <a:accent5>
        <a:srgbClr val="34B233"/>
      </a:accent5>
      <a:accent6>
        <a:srgbClr val="ED2939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D7EDB"/>
        </a:accent1>
        <a:accent2>
          <a:srgbClr val="002B45"/>
        </a:accent2>
        <a:accent3>
          <a:srgbClr val="BEB9A6"/>
        </a:accent3>
        <a:accent4>
          <a:srgbClr val="FFA100"/>
        </a:accent4>
        <a:accent5>
          <a:srgbClr val="34B233"/>
        </a:accent5>
        <a:accent6>
          <a:srgbClr val="ED2939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AM7214_OFF_v1.potx" id="{404B5DD3-1CC4-4EFB-9E3D-3E70F0839B84}" vid="{6428320D-026F-49E2-9B8F-4C8F5C483E1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279ED72CAD2EF4CA3E0910F5EFC5D3B" ma:contentTypeVersion="15" ma:contentTypeDescription="Een nieuw document maken." ma:contentTypeScope="" ma:versionID="b814c00cf71f779de2c1d0073c916168">
  <xsd:schema xmlns:xsd="http://www.w3.org/2001/XMLSchema" xmlns:xs="http://www.w3.org/2001/XMLSchema" xmlns:p="http://schemas.microsoft.com/office/2006/metadata/properties" xmlns:ns2="99676c0d-8d66-452c-be39-74d1cb7c074f" xmlns:ns3="507aa27a-6b29-41d3-9544-92b1768c82c8" targetNamespace="http://schemas.microsoft.com/office/2006/metadata/properties" ma:root="true" ma:fieldsID="075ab60afd800426a3629e490826ed5f" ns2:_="" ns3:_="">
    <xsd:import namespace="99676c0d-8d66-452c-be39-74d1cb7c074f"/>
    <xsd:import namespace="507aa27a-6b29-41d3-9544-92b1768c82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676c0d-8d66-452c-be39-74d1cb7c07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Afbeeldingtags" ma:readOnly="false" ma:fieldId="{5cf76f15-5ced-4ddc-b409-7134ff3c332f}" ma:taxonomyMulti="true" ma:sspId="5d55ca15-9147-4a84-933c-225cdb2e1b0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21" nillable="true" ma:displayName="MediaServiceDateTaken" ma:hidden="true" ma:internalName="MediaServiceDateTaken" ma:readOnly="true">
      <xsd:simpleType>
        <xsd:restriction base="dms:Text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07aa27a-6b29-41d3-9544-92b1768c82c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2eb8341e-c6f0-4c08-8a39-9249d4624fa0}" ma:internalName="TaxCatchAll" ma:showField="CatchAllData" ma:web="507aa27a-6b29-41d3-9544-92b1768c82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07aa27a-6b29-41d3-9544-92b1768c82c8">
      <UserInfo>
        <DisplayName>All Users (windows)</DisplayName>
        <AccountId>13</AccountId>
        <AccountType/>
      </UserInfo>
      <UserInfo>
        <DisplayName>NT Service\spsearch</DisplayName>
        <AccountId>9</AccountId>
        <AccountType/>
      </UserInfo>
      <UserInfo>
        <DisplayName>Lefferts, Julia</DisplayName>
        <AccountId>12</AccountId>
        <AccountType/>
      </UserInfo>
      <UserInfo>
        <DisplayName>O365 Support Team</DisplayName>
        <AccountId>18</AccountId>
        <AccountType/>
      </UserInfo>
      <UserInfo>
        <DisplayName>Landesz, Stefan</DisplayName>
        <AccountId>140</AccountId>
        <AccountType/>
      </UserInfo>
    </SharedWithUsers>
    <lcf76f155ced4ddcb4097134ff3c332f xmlns="99676c0d-8d66-452c-be39-74d1cb7c074f">
      <Terms xmlns="http://schemas.microsoft.com/office/infopath/2007/PartnerControls"/>
    </lcf76f155ced4ddcb4097134ff3c332f>
    <TaxCatchAll xmlns="507aa27a-6b29-41d3-9544-92b1768c82c8" xsi:nil="true"/>
  </documentManagement>
</p:properties>
</file>

<file path=customXml/itemProps1.xml><?xml version="1.0" encoding="utf-8"?>
<ds:datastoreItem xmlns:ds="http://schemas.openxmlformats.org/officeDocument/2006/customXml" ds:itemID="{DE8A325F-A791-406B-BF0A-8649C27551D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67D5AA5-CB40-464C-986A-1C1E8EF807C3}">
  <ds:schemaRefs>
    <ds:schemaRef ds:uri="507aa27a-6b29-41d3-9544-92b1768c82c8"/>
    <ds:schemaRef ds:uri="99676c0d-8d66-452c-be39-74d1cb7c074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B832D555-E7A3-46B1-A865-5D857B10F1E6}">
  <ds:schemaRefs>
    <ds:schemaRef ds:uri="507aa27a-6b29-41d3-9544-92b1768c82c8"/>
    <ds:schemaRef ds:uri="99676c0d-8d66-452c-be39-74d1cb7c074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ata Steel Zeremis PowerPoint template</Template>
  <TotalTime>0</TotalTime>
  <Words>876</Words>
  <Application>Microsoft Office PowerPoint</Application>
  <PresentationFormat>Diavoorstelling (16:9)</PresentationFormat>
  <Paragraphs>133</Paragraphs>
  <Slides>23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14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43" baseType="lpstr">
      <vt:lpstr>Arial</vt:lpstr>
      <vt:lpstr>Calibri</vt:lpstr>
      <vt:lpstr>Segoe UI</vt:lpstr>
      <vt:lpstr>Trebuchet MS</vt:lpstr>
      <vt:lpstr>Wingdings</vt:lpstr>
      <vt:lpstr>Tata Zeremis PPT Theme</vt:lpstr>
      <vt:lpstr>1_White</vt:lpstr>
      <vt:lpstr>7_Tata Zeremis PPT Theme</vt:lpstr>
      <vt:lpstr>7_Custom_white</vt:lpstr>
      <vt:lpstr>3_Custom_white</vt:lpstr>
      <vt:lpstr>9_Custom_white</vt:lpstr>
      <vt:lpstr>3_Tata Zeremis PPT Theme</vt:lpstr>
      <vt:lpstr>1_Tata Zeremis PPT Theme</vt:lpstr>
      <vt:lpstr>4_Custom_white</vt:lpstr>
      <vt:lpstr>4_Tata Zeremis PPT Theme</vt:lpstr>
      <vt:lpstr>2_White</vt:lpstr>
      <vt:lpstr>6_Tata Zeremis PPT Theme</vt:lpstr>
      <vt:lpstr>9_Tata Zeremis PPT Theme</vt:lpstr>
      <vt:lpstr>3_White</vt:lpstr>
      <vt:lpstr>think-cell Slide</vt:lpstr>
      <vt:lpstr>Together towards a zero-carbon emissions, circular world</vt:lpstr>
      <vt:lpstr>Contents</vt:lpstr>
      <vt:lpstr>The journey</vt:lpstr>
      <vt:lpstr>PowerPoint-presentatie</vt:lpstr>
      <vt:lpstr>PowerPoint-presentatie</vt:lpstr>
      <vt:lpstr>Our track record</vt:lpstr>
      <vt:lpstr>Our ambition</vt:lpstr>
      <vt:lpstr>PowerPoint-presentatie</vt:lpstr>
      <vt:lpstr>Driving transformation</vt:lpstr>
      <vt:lpstr>PowerPoint-presentatie</vt:lpstr>
      <vt:lpstr>PowerPoint-presentatie</vt:lpstr>
      <vt:lpstr>Accelerating  change</vt:lpstr>
      <vt:lpstr>PowerPoint-presentatie</vt:lpstr>
      <vt:lpstr>We are introducing carbon reduction and innovative circular  solutions for the coming years covering our full supply chain</vt:lpstr>
      <vt:lpstr>PowerPoint-presentatie</vt:lpstr>
      <vt:lpstr>PowerPoint-presentatie</vt:lpstr>
      <vt:lpstr>Recent carbon savings realised by Tata Steel Nederland are  independently assured by DNV and compiled in our central carbon bank</vt:lpstr>
      <vt:lpstr>PowerPoint-presentatie</vt:lpstr>
      <vt:lpstr>PowerPoint-presentatie</vt:lpstr>
      <vt:lpstr>PowerPoint-presentatie</vt:lpstr>
      <vt:lpstr>Reinvesting in the future</vt:lpstr>
      <vt:lpstr>PowerPoint-presentatie</vt:lpstr>
      <vt:lpstr>Together towards a zero-carbon emissions, circular world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ogether towards a zero carbon emissions, circular world</dc:title>
  <dc:creator>Operandi Limited</dc:creator>
  <cp:lastModifiedBy>Driessen, Ellen</cp:lastModifiedBy>
  <cp:revision>3</cp:revision>
  <dcterms:created xsi:type="dcterms:W3CDTF">2022-07-04T14:23:33Z</dcterms:created>
  <dcterms:modified xsi:type="dcterms:W3CDTF">2023-10-24T08:18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3aa366c-74b9-492b-a1b9-5472c41e7d31_Enabled">
    <vt:lpwstr>true</vt:lpwstr>
  </property>
  <property fmtid="{D5CDD505-2E9C-101B-9397-08002B2CF9AE}" pid="3" name="MSIP_Label_73aa366c-74b9-492b-a1b9-5472c41e7d31_SetDate">
    <vt:lpwstr>2022-07-07T07:25:11Z</vt:lpwstr>
  </property>
  <property fmtid="{D5CDD505-2E9C-101B-9397-08002B2CF9AE}" pid="4" name="MSIP_Label_73aa366c-74b9-492b-a1b9-5472c41e7d31_Method">
    <vt:lpwstr>Privileged</vt:lpwstr>
  </property>
  <property fmtid="{D5CDD505-2E9C-101B-9397-08002B2CF9AE}" pid="5" name="MSIP_Label_73aa366c-74b9-492b-a1b9-5472c41e7d31_Name">
    <vt:lpwstr>73aa366c-74b9-492b-a1b9-5472c41e7d31</vt:lpwstr>
  </property>
  <property fmtid="{D5CDD505-2E9C-101B-9397-08002B2CF9AE}" pid="6" name="MSIP_Label_73aa366c-74b9-492b-a1b9-5472c41e7d31_SiteId">
    <vt:lpwstr>44bbd632-fe04-42d7-933e-2649dcd22649</vt:lpwstr>
  </property>
  <property fmtid="{D5CDD505-2E9C-101B-9397-08002B2CF9AE}" pid="7" name="MSIP_Label_73aa366c-74b9-492b-a1b9-5472c41e7d31_ActionId">
    <vt:lpwstr>7fe1df68-a0cb-4277-b09a-9d21c620f380</vt:lpwstr>
  </property>
  <property fmtid="{D5CDD505-2E9C-101B-9397-08002B2CF9AE}" pid="8" name="MSIP_Label_73aa366c-74b9-492b-a1b9-5472c41e7d31_ContentBits">
    <vt:lpwstr>2</vt:lpwstr>
  </property>
  <property fmtid="{D5CDD505-2E9C-101B-9397-08002B2CF9AE}" pid="9" name="ClassificationContentMarkingFooterLocations">
    <vt:lpwstr>Tata Zeremis PPT Theme:8</vt:lpwstr>
  </property>
  <property fmtid="{D5CDD505-2E9C-101B-9397-08002B2CF9AE}" pid="10" name="ClassificationContentMarkingFooterText">
    <vt:lpwstr>Sensitivity: general</vt:lpwstr>
  </property>
  <property fmtid="{D5CDD505-2E9C-101B-9397-08002B2CF9AE}" pid="11" name="MediaServiceImageTags">
    <vt:lpwstr/>
  </property>
  <property fmtid="{D5CDD505-2E9C-101B-9397-08002B2CF9AE}" pid="12" name="xd_ProgID">
    <vt:lpwstr/>
  </property>
  <property fmtid="{D5CDD505-2E9C-101B-9397-08002B2CF9AE}" pid="13" name="ComplianceAssetId">
    <vt:lpwstr/>
  </property>
  <property fmtid="{D5CDD505-2E9C-101B-9397-08002B2CF9AE}" pid="14" name="TemplateUrl">
    <vt:lpwstr/>
  </property>
  <property fmtid="{D5CDD505-2E9C-101B-9397-08002B2CF9AE}" pid="15" name="_ExtendedDescription">
    <vt:lpwstr/>
  </property>
  <property fmtid="{D5CDD505-2E9C-101B-9397-08002B2CF9AE}" pid="16" name="TriggerFlowInfo">
    <vt:lpwstr/>
  </property>
  <property fmtid="{D5CDD505-2E9C-101B-9397-08002B2CF9AE}" pid="17" name="xd_Signature">
    <vt:lpwstr/>
  </property>
  <property fmtid="{D5CDD505-2E9C-101B-9397-08002B2CF9AE}" pid="18" name="ContentTypeId">
    <vt:lpwstr>0x010100C279ED72CAD2EF4CA3E0910F5EFC5D3B</vt:lpwstr>
  </property>
</Properties>
</file>